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1"/>
  </p:notesMasterIdLst>
  <p:handoutMasterIdLst>
    <p:handoutMasterId r:id="rId22"/>
  </p:handoutMasterIdLst>
  <p:sldIdLst>
    <p:sldId id="280" r:id="rId3"/>
    <p:sldId id="257" r:id="rId4"/>
    <p:sldId id="269" r:id="rId5"/>
    <p:sldId id="261" r:id="rId6"/>
    <p:sldId id="283" r:id="rId7"/>
    <p:sldId id="270" r:id="rId8"/>
    <p:sldId id="286" r:id="rId9"/>
    <p:sldId id="291" r:id="rId10"/>
    <p:sldId id="282" r:id="rId11"/>
    <p:sldId id="271" r:id="rId12"/>
    <p:sldId id="262" r:id="rId13"/>
    <p:sldId id="284" r:id="rId14"/>
    <p:sldId id="292" r:id="rId15"/>
    <p:sldId id="274" r:id="rId16"/>
    <p:sldId id="293" r:id="rId17"/>
    <p:sldId id="294" r:id="rId18"/>
    <p:sldId id="295" r:id="rId19"/>
    <p:sldId id="28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030" autoAdjust="0"/>
  </p:normalViewPr>
  <p:slideViewPr>
    <p:cSldViewPr snapToGrid="0">
      <p:cViewPr varScale="1">
        <p:scale>
          <a:sx n="74" d="100"/>
          <a:sy n="74" d="100"/>
        </p:scale>
        <p:origin x="931" y="43"/>
      </p:cViewPr>
      <p:guideLst/>
    </p:cSldViewPr>
  </p:slideViewPr>
  <p:notesTextViewPr>
    <p:cViewPr>
      <p:scale>
        <a:sx n="1" d="1"/>
        <a:sy n="1" d="1"/>
      </p:scale>
      <p:origin x="0" y="0"/>
    </p:cViewPr>
  </p:notesTextViewPr>
  <p:notesViewPr>
    <p:cSldViewPr snapToGrid="0">
      <p:cViewPr varScale="1">
        <p:scale>
          <a:sx n="65" d="100"/>
          <a:sy n="65" d="100"/>
        </p:scale>
        <p:origin x="3082"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a:scene3d>
              <a:camera prst="orthographicFront"/>
              <a:lightRig rig="threePt" dir="t"/>
            </a:scene3d>
            <a:sp3d prstMaterial="metal">
              <a:bevelT w="88900" h="88900"/>
            </a:sp3d>
          </c:spPr>
          <c:dPt>
            <c:idx val="0"/>
            <c:bubble3D val="0"/>
            <c:spPr>
              <a:solidFill>
                <a:srgbClr val="FF0080"/>
              </a:solidFill>
              <a:ln w="19050">
                <a:noFill/>
              </a:ln>
              <a:effectLst>
                <a:innerShdw blurRad="342900" dist="228600" dir="8100000">
                  <a:schemeClr val="bg1">
                    <a:lumMod val="95000"/>
                    <a:alpha val="21000"/>
                  </a:scheme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3-9E02-41A4-A3AB-C08F8F4BCB20}"/>
              </c:ext>
            </c:extLst>
          </c:dPt>
          <c:dPt>
            <c:idx val="1"/>
            <c:bubble3D val="0"/>
            <c:spPr>
              <a:solidFill>
                <a:srgbClr val="FFC16C"/>
              </a:solidFill>
              <a:ln w="19050">
                <a:noFill/>
              </a:ln>
              <a:effectLst>
                <a:innerShdw blurRad="152400" dist="101600" dir="15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6-9E02-41A4-A3AB-C08F8F4BCB20}"/>
              </c:ext>
            </c:extLst>
          </c:dPt>
          <c:dPt>
            <c:idx val="2"/>
            <c:bubble3D val="0"/>
            <c:spPr>
              <a:solidFill>
                <a:srgbClr val="40E0D0"/>
              </a:solidFill>
              <a:ln w="19050">
                <a:noFill/>
              </a:ln>
              <a:effectLst>
                <a:innerShdw blurRad="139700" dist="101600" dir="18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5-9E02-41A4-A3AB-C08F8F4BCB20}"/>
              </c:ext>
            </c:extLst>
          </c:dPt>
          <c:dPt>
            <c:idx val="3"/>
            <c:bubble3D val="0"/>
            <c:spPr>
              <a:solidFill>
                <a:srgbClr val="FF8C00"/>
              </a:solidFill>
              <a:ln w="19050">
                <a:noFill/>
              </a:ln>
              <a:effectLst>
                <a:innerShdw blurRad="127000" dist="76200" dir="20400000">
                  <a:prstClr val="black">
                    <a:alpha val="28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4-9E02-41A4-A3AB-C08F8F4BCB20}"/>
              </c:ext>
            </c:extLst>
          </c:dPt>
          <c:dPt>
            <c:idx val="4"/>
            <c:bubble3D val="0"/>
            <c:spPr>
              <a:solidFill>
                <a:schemeClr val="accent5"/>
              </a:solidFill>
              <a:ln w="19050">
                <a:noFill/>
              </a:ln>
              <a:effectLst/>
              <a:scene3d>
                <a:camera prst="orthographicFront"/>
                <a:lightRig rig="threePt" dir="t"/>
              </a:scene3d>
              <a:sp3d prstMaterial="metal">
                <a:bevelT w="88900" h="88900"/>
              </a:sp3d>
            </c:spPr>
          </c:dPt>
          <c:dPt>
            <c:idx val="5"/>
            <c:bubble3D val="0"/>
            <c:spPr>
              <a:solidFill>
                <a:schemeClr val="accent6"/>
              </a:solidFill>
              <a:ln w="19050">
                <a:noFill/>
              </a:ln>
              <a:effectLst/>
              <a:scene3d>
                <a:camera prst="orthographicFront"/>
                <a:lightRig rig="threePt" dir="t"/>
              </a:scene3d>
              <a:sp3d prstMaterial="metal">
                <a:bevelT w="88900" h="88900"/>
              </a:sp3d>
            </c:spPr>
          </c:dPt>
          <c:dPt>
            <c:idx val="6"/>
            <c:bubble3D val="0"/>
            <c:spPr>
              <a:solidFill>
                <a:srgbClr val="7030A0"/>
              </a:solidFill>
              <a:ln w="19050">
                <a:noFill/>
              </a:ln>
              <a:effectLst/>
              <a:scene3d>
                <a:camera prst="orthographicFront"/>
                <a:lightRig rig="threePt" dir="t"/>
              </a:scene3d>
              <a:sp3d prstMaterial="metal">
                <a:bevelT w="88900" h="88900"/>
              </a:sp3d>
            </c:spPr>
          </c:dPt>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General</c:formatCode>
                <c:ptCount val="7"/>
                <c:pt idx="0">
                  <c:v>14.2</c:v>
                </c:pt>
                <c:pt idx="1">
                  <c:v>14.2</c:v>
                </c:pt>
                <c:pt idx="2">
                  <c:v>14.2</c:v>
                </c:pt>
                <c:pt idx="3">
                  <c:v>14.2</c:v>
                </c:pt>
                <c:pt idx="4">
                  <c:v>14.2</c:v>
                </c:pt>
                <c:pt idx="5">
                  <c:v>14.2</c:v>
                </c:pt>
                <c:pt idx="6">
                  <c:v>14.3</c:v>
                </c:pt>
              </c:numCache>
            </c:numRef>
          </c:val>
          <c:extLst xmlns:c16r2="http://schemas.microsoft.com/office/drawing/2015/06/chart">
            <c:ext xmlns:c16="http://schemas.microsoft.com/office/drawing/2014/chart" uri="{C3380CC4-5D6E-409C-BE32-E72D297353CC}">
              <c16:uniqueId val="{00000000-9E02-41A4-A3AB-C08F8F4BCB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22EEFC-19A3-4AF2-888C-321CE5B24E4C}"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GB"/>
        </a:p>
      </dgm:t>
    </dgm:pt>
    <dgm:pt modelId="{563B9CF3-40AE-4F6D-9802-FBE29F2DB0FD}">
      <dgm:prSet phldrT="[Text]" custT="1"/>
      <dgm:spPr>
        <a:xfrm>
          <a:off x="131116" y="0"/>
          <a:ext cx="10349000" cy="821966"/>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gm:spPr>
      <dgm:t>
        <a:bodyPr/>
        <a:lstStyle/>
        <a:p>
          <a:r>
            <a:rPr lang="en-ZA" sz="1600" b="1" dirty="0" smtClean="0">
              <a:solidFill>
                <a:sysClr val="window" lastClr="FFFFFF"/>
              </a:solidFill>
              <a:latin typeface="Lato"/>
              <a:ea typeface="+mn-ea"/>
              <a:cs typeface="+mn-cs"/>
            </a:rPr>
            <a:t>Problem Statement  Strategic Support:</a:t>
          </a:r>
        </a:p>
        <a:p>
          <a:r>
            <a:rPr lang="en-ZA" sz="1600" b="1" dirty="0" smtClean="0">
              <a:solidFill>
                <a:sysClr val="window" lastClr="FFFFFF"/>
              </a:solidFill>
              <a:latin typeface="Lato"/>
              <a:ea typeface="+mn-ea"/>
              <a:cs typeface="+mn-cs"/>
            </a:rPr>
            <a:t>Lack of an enabling environment that supports service delivery  excellence  </a:t>
          </a:r>
          <a:endParaRPr lang="en-GB" sz="1600" b="1" dirty="0">
            <a:solidFill>
              <a:sysClr val="window" lastClr="FFFFFF"/>
            </a:solidFill>
            <a:latin typeface="Lato"/>
            <a:ea typeface="+mn-ea"/>
            <a:cs typeface="+mn-cs"/>
          </a:endParaRPr>
        </a:p>
      </dgm:t>
    </dgm:pt>
    <dgm:pt modelId="{3E9FD29A-F7AA-4812-AFD7-F4473F2158AD}" type="parTrans" cxnId="{0CB407C0-2E9A-4EE8-900F-51938B7A358F}">
      <dgm:prSet/>
      <dgm:spPr/>
      <dgm:t>
        <a:bodyPr/>
        <a:lstStyle/>
        <a:p>
          <a:endParaRPr lang="en-GB">
            <a:solidFill>
              <a:schemeClr val="tx1"/>
            </a:solidFill>
          </a:endParaRPr>
        </a:p>
      </dgm:t>
    </dgm:pt>
    <dgm:pt modelId="{05BEB253-1CA9-4CA9-8CD4-0CB9A17B327C}" type="sibTrans" cxnId="{0CB407C0-2E9A-4EE8-900F-51938B7A358F}">
      <dgm:prSet/>
      <dgm:spPr/>
      <dgm:t>
        <a:bodyPr/>
        <a:lstStyle/>
        <a:p>
          <a:endParaRPr lang="en-GB">
            <a:solidFill>
              <a:schemeClr val="tx1"/>
            </a:solidFill>
          </a:endParaRPr>
        </a:p>
      </dgm:t>
    </dgm:pt>
    <dgm:pt modelId="{27C0C58C-3A95-4427-952F-34ADD3E4CA9C}">
      <dgm:prSet phldrT="[Text]" custT="1"/>
      <dgm:spPr>
        <a:xfrm>
          <a:off x="0" y="887615"/>
          <a:ext cx="2196003" cy="612001"/>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000" b="1" dirty="0" smtClean="0">
              <a:solidFill>
                <a:sysClr val="windowText" lastClr="000000"/>
              </a:solidFill>
              <a:latin typeface="Lato"/>
              <a:ea typeface="+mn-ea"/>
              <a:cs typeface="+mn-cs"/>
            </a:rPr>
            <a:t>Direct cause:</a:t>
          </a:r>
        </a:p>
        <a:p>
          <a:r>
            <a:rPr lang="en-ZA" sz="1000" b="1" dirty="0" smtClean="0">
              <a:solidFill>
                <a:sysClr val="windowText" lastClr="000000"/>
              </a:solidFill>
              <a:latin typeface="Lato"/>
              <a:ea typeface="+mn-ea"/>
              <a:cs typeface="+mn-cs"/>
            </a:rPr>
            <a:t>Lack of  integrate business information for informed decision making</a:t>
          </a:r>
          <a:endParaRPr lang="en-GB" sz="1000" b="1" dirty="0">
            <a:solidFill>
              <a:sysClr val="windowText" lastClr="000000"/>
            </a:solidFill>
            <a:latin typeface="Lato"/>
            <a:ea typeface="+mn-ea"/>
            <a:cs typeface="+mn-cs"/>
          </a:endParaRPr>
        </a:p>
      </dgm:t>
    </dgm:pt>
    <dgm:pt modelId="{A0F550C9-0B7E-4467-B60C-2FE33DB848F1}" type="parTrans" cxnId="{621EE3B8-6D07-459C-A6D3-E3BA410FE6C2}">
      <dgm:prSet/>
      <dgm:spPr>
        <a:xfrm>
          <a:off x="1098001" y="776246"/>
          <a:ext cx="4207614" cy="91440"/>
        </a:xfrm>
        <a:custGeom>
          <a:avLst/>
          <a:gdLst/>
          <a:ahLst/>
          <a:cxnLst/>
          <a:rect l="0" t="0" r="0" b="0"/>
          <a:pathLst>
            <a:path>
              <a:moveTo>
                <a:pt x="4207614" y="45720"/>
              </a:moveTo>
              <a:lnTo>
                <a:pt x="0" y="45720"/>
              </a:lnTo>
              <a:lnTo>
                <a:pt x="0" y="111368"/>
              </a:lnTo>
            </a:path>
          </a:pathLst>
        </a:custGeom>
        <a:noFill/>
        <a:ln w="12700" cap="flat" cmpd="sng" algn="ctr">
          <a:noFill/>
          <a:prstDash val="solid"/>
          <a:miter lim="800000"/>
        </a:ln>
        <a:effectLst/>
      </dgm:spPr>
      <dgm:t>
        <a:bodyPr/>
        <a:lstStyle/>
        <a:p>
          <a:endParaRPr lang="en-GB">
            <a:solidFill>
              <a:schemeClr val="tx1"/>
            </a:solidFill>
          </a:endParaRPr>
        </a:p>
      </dgm:t>
    </dgm:pt>
    <dgm:pt modelId="{A48D0EC1-8DC2-4E08-8DF7-FD71B3DFA6AD}" type="sibTrans" cxnId="{621EE3B8-6D07-459C-A6D3-E3BA410FE6C2}">
      <dgm:prSet/>
      <dgm:spPr/>
      <dgm:t>
        <a:bodyPr/>
        <a:lstStyle/>
        <a:p>
          <a:endParaRPr lang="en-GB">
            <a:solidFill>
              <a:schemeClr val="tx1"/>
            </a:solidFill>
          </a:endParaRPr>
        </a:p>
      </dgm:t>
    </dgm:pt>
    <dgm:pt modelId="{B8408C07-B965-420B-AA4F-EF7BF3626137}">
      <dgm:prSet phldrT="[Text]" custT="1"/>
      <dgm:spPr>
        <a:xfrm>
          <a:off x="7413947" y="887615"/>
          <a:ext cx="2196003" cy="689506"/>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050" b="1" dirty="0" smtClean="0">
              <a:solidFill>
                <a:sysClr val="windowText" lastClr="000000"/>
              </a:solidFill>
              <a:latin typeface="Lato"/>
              <a:ea typeface="+mn-ea"/>
              <a:cs typeface="+mn-cs"/>
            </a:rPr>
            <a:t>Direct cause:</a:t>
          </a:r>
        </a:p>
        <a:p>
          <a:r>
            <a:rPr lang="en-ZA" sz="1050" b="1" dirty="0" smtClean="0">
              <a:solidFill>
                <a:sysClr val="windowText" lastClr="000000"/>
              </a:solidFill>
              <a:latin typeface="Lato"/>
              <a:ea typeface="+mn-ea"/>
              <a:cs typeface="+mn-cs"/>
            </a:rPr>
            <a:t>Insufficient budget allocations for programmes and projects </a:t>
          </a:r>
          <a:endParaRPr lang="en-GB" sz="1050" b="1" dirty="0" smtClean="0">
            <a:solidFill>
              <a:sysClr val="windowText" lastClr="000000"/>
            </a:solidFill>
            <a:latin typeface="Lato"/>
            <a:ea typeface="+mn-ea"/>
            <a:cs typeface="+mn-cs"/>
          </a:endParaRPr>
        </a:p>
      </dgm:t>
    </dgm:pt>
    <dgm:pt modelId="{205FFF2B-3A41-4A88-A3BE-31B22C2574A7}" type="parTrans" cxnId="{A10F591D-4995-402B-8FE6-D58EFD4115C8}">
      <dgm:prSet/>
      <dgm:spPr>
        <a:xfrm>
          <a:off x="5305616" y="776246"/>
          <a:ext cx="3206332" cy="91440"/>
        </a:xfrm>
        <a:custGeom>
          <a:avLst/>
          <a:gdLst/>
          <a:ahLst/>
          <a:cxnLst/>
          <a:rect l="0" t="0" r="0" b="0"/>
          <a:pathLst>
            <a:path>
              <a:moveTo>
                <a:pt x="0" y="45720"/>
              </a:moveTo>
              <a:lnTo>
                <a:pt x="3206332" y="45720"/>
              </a:lnTo>
              <a:lnTo>
                <a:pt x="3206332" y="111368"/>
              </a:lnTo>
            </a:path>
          </a:pathLst>
        </a:custGeom>
        <a:noFill/>
        <a:ln w="12700" cap="flat" cmpd="sng" algn="ctr">
          <a:noFill/>
          <a:prstDash val="solid"/>
          <a:miter lim="800000"/>
        </a:ln>
        <a:effectLst/>
      </dgm:spPr>
      <dgm:t>
        <a:bodyPr/>
        <a:lstStyle/>
        <a:p>
          <a:endParaRPr lang="en-GB">
            <a:solidFill>
              <a:schemeClr val="tx1"/>
            </a:solidFill>
          </a:endParaRPr>
        </a:p>
      </dgm:t>
    </dgm:pt>
    <dgm:pt modelId="{03C46B23-7DCA-4218-9A55-43725D271667}" type="sibTrans" cxnId="{A10F591D-4995-402B-8FE6-D58EFD4115C8}">
      <dgm:prSet/>
      <dgm:spPr/>
      <dgm:t>
        <a:bodyPr/>
        <a:lstStyle/>
        <a:p>
          <a:endParaRPr lang="en-GB">
            <a:solidFill>
              <a:schemeClr val="tx1"/>
            </a:solidFill>
          </a:endParaRPr>
        </a:p>
      </dgm:t>
    </dgm:pt>
    <dgm:pt modelId="{4D9ED46B-69D1-47A5-8587-425F875E60C9}">
      <dgm:prSet phldrT="[Text]" custT="1"/>
      <dgm:spPr>
        <a:xfrm>
          <a:off x="2577198" y="1456682"/>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Poor recruitment and retention strategy</a:t>
          </a:r>
          <a:endParaRPr lang="en-GB" sz="1200" dirty="0">
            <a:solidFill>
              <a:sysClr val="windowText" lastClr="000000"/>
            </a:solidFill>
            <a:latin typeface="Lato"/>
            <a:ea typeface="+mn-ea"/>
            <a:cs typeface="+mn-cs"/>
          </a:endParaRPr>
        </a:p>
      </dgm:t>
    </dgm:pt>
    <dgm:pt modelId="{58994A76-1B27-43DF-B02F-100B15B3B104}" type="parTrans" cxnId="{54AEC9C3-FCCD-40D9-AC49-6E99DEFE0C6D}">
      <dgm:prSet/>
      <dgm:spPr>
        <a:xfrm>
          <a:off x="4443262" y="1403723"/>
          <a:ext cx="91440" cy="278315"/>
        </a:xfrm>
        <a:custGeom>
          <a:avLst/>
          <a:gdLst/>
          <a:ahLst/>
          <a:cxnLst/>
          <a:rect l="0" t="0" r="0" b="0"/>
          <a:pathLst>
            <a:path>
              <a:moveTo>
                <a:pt x="45720" y="0"/>
              </a:moveTo>
              <a:lnTo>
                <a:pt x="89889" y="278315"/>
              </a:lnTo>
            </a:path>
          </a:pathLst>
        </a:custGeom>
        <a:noFill/>
        <a:ln w="12700" cap="flat" cmpd="sng" algn="ctr">
          <a:noFill/>
          <a:prstDash val="solid"/>
          <a:miter lim="800000"/>
        </a:ln>
        <a:effectLst/>
      </dgm:spPr>
      <dgm:t>
        <a:bodyPr/>
        <a:lstStyle/>
        <a:p>
          <a:endParaRPr lang="en-GB">
            <a:solidFill>
              <a:schemeClr val="tx1"/>
            </a:solidFill>
          </a:endParaRPr>
        </a:p>
      </dgm:t>
    </dgm:pt>
    <dgm:pt modelId="{22A69CCF-FD75-4E98-B318-DC8302FAB2C0}" type="sibTrans" cxnId="{54AEC9C3-FCCD-40D9-AC49-6E99DEFE0C6D}">
      <dgm:prSet/>
      <dgm:spPr/>
      <dgm:t>
        <a:bodyPr/>
        <a:lstStyle/>
        <a:p>
          <a:endParaRPr lang="en-GB">
            <a:solidFill>
              <a:schemeClr val="tx1"/>
            </a:solidFill>
          </a:endParaRPr>
        </a:p>
      </dgm:t>
    </dgm:pt>
    <dgm:pt modelId="{70510394-ADAF-4017-9A71-0CDBF70C8053}">
      <dgm:prSet custT="1"/>
      <dgm:spPr>
        <a:xfrm>
          <a:off x="2577198" y="2485364"/>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Organisational structure not aligned to mandate</a:t>
          </a:r>
          <a:endParaRPr lang="en-GB" sz="1000" dirty="0">
            <a:solidFill>
              <a:sysClr val="windowText" lastClr="000000"/>
            </a:solidFill>
            <a:latin typeface="Lato"/>
            <a:ea typeface="+mn-ea"/>
            <a:cs typeface="+mn-cs"/>
          </a:endParaRPr>
        </a:p>
      </dgm:t>
    </dgm:pt>
    <dgm:pt modelId="{39A6586C-73CD-4D64-A1FA-DFF0D99B7D4E}" type="parTrans" cxnId="{86A4D385-2F22-4BFF-931D-859B87D5FC92}">
      <dgm:prSet/>
      <dgm:spPr>
        <a:xfrm>
          <a:off x="4443262" y="1403723"/>
          <a:ext cx="91440" cy="1306997"/>
        </a:xfrm>
        <a:custGeom>
          <a:avLst/>
          <a:gdLst/>
          <a:ahLst/>
          <a:cxnLst/>
          <a:rect l="0" t="0" r="0" b="0"/>
          <a:pathLst>
            <a:path>
              <a:moveTo>
                <a:pt x="45720" y="0"/>
              </a:moveTo>
              <a:lnTo>
                <a:pt x="89889" y="1306997"/>
              </a:lnTo>
            </a:path>
          </a:pathLst>
        </a:custGeom>
        <a:noFill/>
        <a:ln w="12700" cap="flat" cmpd="sng" algn="ctr">
          <a:noFill/>
          <a:prstDash val="solid"/>
          <a:miter lim="800000"/>
        </a:ln>
        <a:effectLst/>
      </dgm:spPr>
      <dgm:t>
        <a:bodyPr/>
        <a:lstStyle/>
        <a:p>
          <a:endParaRPr lang="en-GB">
            <a:solidFill>
              <a:schemeClr val="tx1"/>
            </a:solidFill>
          </a:endParaRPr>
        </a:p>
      </dgm:t>
    </dgm:pt>
    <dgm:pt modelId="{D94AC2A3-737F-46A2-AC99-71A23D9C4826}" type="sibTrans" cxnId="{86A4D385-2F22-4BFF-931D-859B87D5FC92}">
      <dgm:prSet/>
      <dgm:spPr/>
      <dgm:t>
        <a:bodyPr/>
        <a:lstStyle/>
        <a:p>
          <a:endParaRPr lang="en-GB">
            <a:solidFill>
              <a:schemeClr val="tx1"/>
            </a:solidFill>
          </a:endParaRPr>
        </a:p>
      </dgm:t>
    </dgm:pt>
    <dgm:pt modelId="{232AA91C-A830-4893-AB0C-E0B807EEE6B2}">
      <dgm:prSet phldrT="[Text]" custT="1"/>
      <dgm:spPr>
        <a:xfrm>
          <a:off x="2577198" y="1954617"/>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Non-compliance with employment equity targets and AA measures</a:t>
          </a:r>
          <a:endParaRPr lang="en-GB" sz="1000" dirty="0">
            <a:solidFill>
              <a:sysClr val="windowText" lastClr="000000"/>
            </a:solidFill>
            <a:latin typeface="Lato"/>
            <a:ea typeface="+mn-ea"/>
            <a:cs typeface="+mn-cs"/>
          </a:endParaRPr>
        </a:p>
      </dgm:t>
    </dgm:pt>
    <dgm:pt modelId="{1AEE5C21-8809-4BD3-BF4B-96F643A6442C}" type="parTrans" cxnId="{2242DF51-6F3D-46A4-A1A5-04BE8850E38B}">
      <dgm:prSet/>
      <dgm:spPr>
        <a:xfrm>
          <a:off x="4443262" y="1403723"/>
          <a:ext cx="91440" cy="776250"/>
        </a:xfrm>
        <a:custGeom>
          <a:avLst/>
          <a:gdLst/>
          <a:ahLst/>
          <a:cxnLst/>
          <a:rect l="0" t="0" r="0" b="0"/>
          <a:pathLst>
            <a:path>
              <a:moveTo>
                <a:pt x="45720" y="0"/>
              </a:moveTo>
              <a:lnTo>
                <a:pt x="89889" y="776250"/>
              </a:lnTo>
            </a:path>
          </a:pathLst>
        </a:custGeom>
        <a:noFill/>
        <a:ln w="12700" cap="flat" cmpd="sng" algn="ctr">
          <a:noFill/>
          <a:prstDash val="solid"/>
          <a:miter lim="800000"/>
        </a:ln>
        <a:effectLst/>
      </dgm:spPr>
      <dgm:t>
        <a:bodyPr/>
        <a:lstStyle/>
        <a:p>
          <a:endParaRPr lang="en-GB">
            <a:solidFill>
              <a:schemeClr val="tx1"/>
            </a:solidFill>
          </a:endParaRPr>
        </a:p>
      </dgm:t>
    </dgm:pt>
    <dgm:pt modelId="{FAB4A523-7091-432C-A10F-E583BE39856A}" type="sibTrans" cxnId="{2242DF51-6F3D-46A4-A1A5-04BE8850E38B}">
      <dgm:prSet/>
      <dgm:spPr/>
      <dgm:t>
        <a:bodyPr/>
        <a:lstStyle/>
        <a:p>
          <a:endParaRPr lang="en-GB">
            <a:solidFill>
              <a:schemeClr val="tx1"/>
            </a:solidFill>
          </a:endParaRPr>
        </a:p>
      </dgm:t>
    </dgm:pt>
    <dgm:pt modelId="{DCA969C6-173D-4A46-9BA4-5119AF64DB64}">
      <dgm:prSet custT="1"/>
      <dgm:spPr>
        <a:xfrm>
          <a:off x="2577712" y="3017355"/>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100" dirty="0" smtClean="0">
              <a:solidFill>
                <a:sysClr val="windowText" lastClr="000000"/>
              </a:solidFill>
              <a:latin typeface="Lato"/>
              <a:ea typeface="+mn-ea"/>
              <a:cs typeface="+mn-cs"/>
            </a:rPr>
            <a:t>Inadequate resourcing of the colleges </a:t>
          </a:r>
          <a:endParaRPr lang="en-GB" sz="1100" dirty="0">
            <a:solidFill>
              <a:sysClr val="windowText" lastClr="000000"/>
            </a:solidFill>
            <a:latin typeface="Lato"/>
            <a:ea typeface="+mn-ea"/>
            <a:cs typeface="+mn-cs"/>
          </a:endParaRPr>
        </a:p>
      </dgm:t>
    </dgm:pt>
    <dgm:pt modelId="{CCCD879D-0878-4276-BBBF-ED7DC058AD7B}" type="parTrans" cxnId="{57816D1E-B580-47C0-A950-5C5DB86F664B}">
      <dgm:prSet/>
      <dgm:spPr>
        <a:xfrm>
          <a:off x="4443262" y="1403723"/>
          <a:ext cx="91440" cy="1838988"/>
        </a:xfrm>
        <a:custGeom>
          <a:avLst/>
          <a:gdLst/>
          <a:ahLst/>
          <a:cxnLst/>
          <a:rect l="0" t="0" r="0" b="0"/>
          <a:pathLst>
            <a:path>
              <a:moveTo>
                <a:pt x="45720" y="0"/>
              </a:moveTo>
              <a:lnTo>
                <a:pt x="90402" y="1838988"/>
              </a:lnTo>
            </a:path>
          </a:pathLst>
        </a:custGeom>
        <a:noFill/>
        <a:ln w="12700" cap="flat" cmpd="sng" algn="ctr">
          <a:noFill/>
          <a:prstDash val="solid"/>
          <a:miter lim="800000"/>
        </a:ln>
        <a:effectLst/>
      </dgm:spPr>
      <dgm:t>
        <a:bodyPr/>
        <a:lstStyle/>
        <a:p>
          <a:endParaRPr lang="en-GB">
            <a:solidFill>
              <a:schemeClr val="tx1"/>
            </a:solidFill>
          </a:endParaRPr>
        </a:p>
      </dgm:t>
    </dgm:pt>
    <dgm:pt modelId="{FE4AC76F-08FB-47BF-8FF3-FA756FFB418F}" type="sibTrans" cxnId="{57816D1E-B580-47C0-A950-5C5DB86F664B}">
      <dgm:prSet/>
      <dgm:spPr/>
      <dgm:t>
        <a:bodyPr/>
        <a:lstStyle/>
        <a:p>
          <a:endParaRPr lang="en-GB">
            <a:solidFill>
              <a:schemeClr val="tx1"/>
            </a:solidFill>
          </a:endParaRPr>
        </a:p>
      </dgm:t>
    </dgm:pt>
    <dgm:pt modelId="{4CC3869D-EA05-4F15-ABEF-E876B4DF3A97}">
      <dgm:prSet custT="1"/>
      <dgm:spPr>
        <a:xfrm>
          <a:off x="2577712" y="354501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050" dirty="0" smtClean="0">
              <a:solidFill>
                <a:sysClr val="windowText" lastClr="000000"/>
              </a:solidFill>
              <a:latin typeface="Lato"/>
              <a:ea typeface="+mn-ea"/>
              <a:cs typeface="+mn-cs"/>
            </a:rPr>
            <a:t>Inconsistent implementation of HR directives  </a:t>
          </a:r>
          <a:endParaRPr lang="en-GB" sz="1050" dirty="0">
            <a:solidFill>
              <a:sysClr val="windowText" lastClr="000000"/>
            </a:solidFill>
            <a:latin typeface="Lato"/>
            <a:ea typeface="+mn-ea"/>
            <a:cs typeface="+mn-cs"/>
          </a:endParaRPr>
        </a:p>
      </dgm:t>
    </dgm:pt>
    <dgm:pt modelId="{60A8C610-33C6-4C13-A76B-645F44A3B723}" type="parTrans" cxnId="{E262D2DD-FF85-49C4-B13E-BE1172AB56AE}">
      <dgm:prSet/>
      <dgm:spPr>
        <a:xfrm>
          <a:off x="4443262" y="1403723"/>
          <a:ext cx="91440" cy="2366643"/>
        </a:xfrm>
        <a:custGeom>
          <a:avLst/>
          <a:gdLst/>
          <a:ahLst/>
          <a:cxnLst/>
          <a:rect l="0" t="0" r="0" b="0"/>
          <a:pathLst>
            <a:path>
              <a:moveTo>
                <a:pt x="45720" y="0"/>
              </a:moveTo>
              <a:lnTo>
                <a:pt x="90402" y="2366643"/>
              </a:lnTo>
            </a:path>
          </a:pathLst>
        </a:custGeom>
        <a:noFill/>
        <a:ln w="12700" cap="flat" cmpd="sng" algn="ctr">
          <a:noFill/>
          <a:prstDash val="solid"/>
          <a:miter lim="800000"/>
        </a:ln>
        <a:effectLst/>
      </dgm:spPr>
      <dgm:t>
        <a:bodyPr/>
        <a:lstStyle/>
        <a:p>
          <a:endParaRPr lang="en-GB">
            <a:solidFill>
              <a:schemeClr val="tx1"/>
            </a:solidFill>
          </a:endParaRPr>
        </a:p>
      </dgm:t>
    </dgm:pt>
    <dgm:pt modelId="{062AB4E3-8430-4023-A667-0AA14B259536}" type="sibTrans" cxnId="{E262D2DD-FF85-49C4-B13E-BE1172AB56AE}">
      <dgm:prSet/>
      <dgm:spPr/>
      <dgm:t>
        <a:bodyPr/>
        <a:lstStyle/>
        <a:p>
          <a:endParaRPr lang="en-GB">
            <a:solidFill>
              <a:schemeClr val="tx1"/>
            </a:solidFill>
          </a:endParaRPr>
        </a:p>
      </dgm:t>
    </dgm:pt>
    <dgm:pt modelId="{4A273B54-5675-4A36-BC30-269F184B394E}">
      <dgm:prSet/>
      <dgm:spPr>
        <a:xfrm>
          <a:off x="2577712" y="407266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Lack of uniform and appropriate shift system </a:t>
          </a:r>
          <a:endParaRPr lang="en-GB" dirty="0">
            <a:solidFill>
              <a:sysClr val="windowText" lastClr="000000"/>
            </a:solidFill>
            <a:latin typeface="Lato"/>
            <a:ea typeface="+mn-ea"/>
            <a:cs typeface="+mn-cs"/>
          </a:endParaRPr>
        </a:p>
      </dgm:t>
    </dgm:pt>
    <dgm:pt modelId="{B9768B53-8850-4D94-B15A-B424BE92EB7A}" type="parTrans" cxnId="{20DD6BCF-EBBB-46CF-B3F2-5F45E2F4073A}">
      <dgm:prSet/>
      <dgm:spPr>
        <a:xfrm>
          <a:off x="4443262" y="1403723"/>
          <a:ext cx="91440" cy="2894294"/>
        </a:xfrm>
        <a:custGeom>
          <a:avLst/>
          <a:gdLst/>
          <a:ahLst/>
          <a:cxnLst/>
          <a:rect l="0" t="0" r="0" b="0"/>
          <a:pathLst>
            <a:path>
              <a:moveTo>
                <a:pt x="45720" y="0"/>
              </a:moveTo>
              <a:lnTo>
                <a:pt x="90402" y="2894294"/>
              </a:lnTo>
            </a:path>
          </a:pathLst>
        </a:custGeom>
        <a:noFill/>
        <a:ln w="12700" cap="flat" cmpd="sng" algn="ctr">
          <a:noFill/>
          <a:prstDash val="solid"/>
          <a:miter lim="800000"/>
        </a:ln>
        <a:effectLst/>
      </dgm:spPr>
      <dgm:t>
        <a:bodyPr/>
        <a:lstStyle/>
        <a:p>
          <a:endParaRPr lang="en-GB">
            <a:solidFill>
              <a:schemeClr val="tx1"/>
            </a:solidFill>
          </a:endParaRPr>
        </a:p>
      </dgm:t>
    </dgm:pt>
    <dgm:pt modelId="{52079362-CDB7-4D88-9EF5-A9C28CCD6275}" type="sibTrans" cxnId="{20DD6BCF-EBBB-46CF-B3F2-5F45E2F4073A}">
      <dgm:prSet/>
      <dgm:spPr/>
      <dgm:t>
        <a:bodyPr/>
        <a:lstStyle/>
        <a:p>
          <a:endParaRPr lang="en-GB">
            <a:solidFill>
              <a:schemeClr val="tx1"/>
            </a:solidFill>
          </a:endParaRPr>
        </a:p>
      </dgm:t>
    </dgm:pt>
    <dgm:pt modelId="{9D90A7A5-CCD4-4D01-BA9A-53F4E97656E6}">
      <dgm:prSet phldrT="[Text]" custT="1"/>
      <dgm:spPr>
        <a:xfrm>
          <a:off x="9905794" y="2065609"/>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compliance monitoring coverage</a:t>
          </a:r>
        </a:p>
      </dgm:t>
    </dgm:pt>
    <dgm:pt modelId="{7F261382-8D87-413A-8D05-DC35E9B459FF}" type="parTrans" cxnId="{CD60D114-1174-4F9F-AB50-CE068219C6B7}">
      <dgm:prSet/>
      <dgm:spPr>
        <a:xfrm>
          <a:off x="9860074" y="1494023"/>
          <a:ext cx="91440" cy="796943"/>
        </a:xfrm>
        <a:custGeom>
          <a:avLst/>
          <a:gdLst/>
          <a:ahLst/>
          <a:cxnLst/>
          <a:rect l="0" t="0" r="0" b="0"/>
          <a:pathLst>
            <a:path>
              <a:moveTo>
                <a:pt x="89258" y="0"/>
              </a:moveTo>
              <a:lnTo>
                <a:pt x="45720" y="796943"/>
              </a:lnTo>
            </a:path>
          </a:pathLst>
        </a:custGeom>
        <a:noFill/>
        <a:ln w="12700" cap="flat" cmpd="sng" algn="ctr">
          <a:noFill/>
          <a:prstDash val="solid"/>
          <a:miter lim="800000"/>
        </a:ln>
        <a:effectLst/>
      </dgm:spPr>
      <dgm:t>
        <a:bodyPr/>
        <a:lstStyle/>
        <a:p>
          <a:endParaRPr lang="en-GB">
            <a:solidFill>
              <a:schemeClr val="tx1"/>
            </a:solidFill>
          </a:endParaRPr>
        </a:p>
      </dgm:t>
    </dgm:pt>
    <dgm:pt modelId="{07A0BBC8-C2A3-4D84-9311-D7818CBD37BF}" type="sibTrans" cxnId="{CD60D114-1174-4F9F-AB50-CE068219C6B7}">
      <dgm:prSet/>
      <dgm:spPr/>
      <dgm:t>
        <a:bodyPr/>
        <a:lstStyle/>
        <a:p>
          <a:endParaRPr lang="en-GB">
            <a:solidFill>
              <a:schemeClr val="tx1"/>
            </a:solidFill>
          </a:endParaRPr>
        </a:p>
      </dgm:t>
    </dgm:pt>
    <dgm:pt modelId="{BC412EB7-C7E5-4551-B509-CA54EA28D57E}">
      <dgm:prSet phldrT="[Text]" custT="1"/>
      <dgm:spPr>
        <a:xfrm>
          <a:off x="9905794" y="3118653"/>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Lack of segregation of duties and non-compliance to procurement prescripts</a:t>
          </a:r>
        </a:p>
      </dgm:t>
    </dgm:pt>
    <dgm:pt modelId="{F5AAD115-D470-4475-8607-D5E6FED1948F}" type="parTrans" cxnId="{2DC5D7E2-9730-4B75-8227-EB18B157EEEA}">
      <dgm:prSet/>
      <dgm:spPr>
        <a:xfrm>
          <a:off x="9860074" y="1494023"/>
          <a:ext cx="91440" cy="1849986"/>
        </a:xfrm>
        <a:custGeom>
          <a:avLst/>
          <a:gdLst/>
          <a:ahLst/>
          <a:cxnLst/>
          <a:rect l="0" t="0" r="0" b="0"/>
          <a:pathLst>
            <a:path>
              <a:moveTo>
                <a:pt x="89258" y="0"/>
              </a:moveTo>
              <a:lnTo>
                <a:pt x="45720" y="1849986"/>
              </a:lnTo>
            </a:path>
          </a:pathLst>
        </a:custGeom>
        <a:noFill/>
        <a:ln w="12700" cap="flat" cmpd="sng" algn="ctr">
          <a:noFill/>
          <a:prstDash val="solid"/>
          <a:miter lim="800000"/>
        </a:ln>
        <a:effectLst/>
      </dgm:spPr>
      <dgm:t>
        <a:bodyPr/>
        <a:lstStyle/>
        <a:p>
          <a:endParaRPr lang="en-GB">
            <a:solidFill>
              <a:schemeClr val="tx1"/>
            </a:solidFill>
          </a:endParaRPr>
        </a:p>
      </dgm:t>
    </dgm:pt>
    <dgm:pt modelId="{2179CFA4-B746-49BD-B895-18B8AA8C993C}" type="sibTrans" cxnId="{2DC5D7E2-9730-4B75-8227-EB18B157EEEA}">
      <dgm:prSet/>
      <dgm:spPr/>
      <dgm:t>
        <a:bodyPr/>
        <a:lstStyle/>
        <a:p>
          <a:endParaRPr lang="en-GB">
            <a:solidFill>
              <a:schemeClr val="tx1"/>
            </a:solidFill>
          </a:endParaRPr>
        </a:p>
      </dgm:t>
    </dgm:pt>
    <dgm:pt modelId="{B983738D-B6CD-4ACC-B021-5D6559383373}">
      <dgm:prSet phldrT="[Text]" custT="1"/>
      <dgm:spPr>
        <a:xfrm>
          <a:off x="9729732" y="887615"/>
          <a:ext cx="2196003" cy="606408"/>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100" b="1" dirty="0" smtClean="0">
              <a:solidFill>
                <a:sysClr val="windowText" lastClr="000000"/>
              </a:solidFill>
              <a:latin typeface="Lato"/>
              <a:ea typeface="+mn-ea"/>
              <a:cs typeface="+mn-cs"/>
            </a:rPr>
            <a:t>Direct cause:</a:t>
          </a:r>
        </a:p>
        <a:p>
          <a:r>
            <a:rPr lang="en-ZA" sz="1100" b="1" dirty="0" smtClean="0">
              <a:solidFill>
                <a:sysClr val="windowText" lastClr="000000"/>
              </a:solidFill>
              <a:latin typeface="Lato"/>
              <a:ea typeface="+mn-ea"/>
              <a:cs typeface="+mn-cs"/>
            </a:rPr>
            <a:t>Non compliance to key legislation, prescripts and policies </a:t>
          </a:r>
        </a:p>
      </dgm:t>
    </dgm:pt>
    <dgm:pt modelId="{7560B32A-7E95-48CB-8C6D-0F10B90600A1}" type="sibTrans" cxnId="{9990CE20-CD65-4E97-9E00-1451F38FFCFD}">
      <dgm:prSet/>
      <dgm:spPr/>
      <dgm:t>
        <a:bodyPr/>
        <a:lstStyle/>
        <a:p>
          <a:endParaRPr lang="en-GB">
            <a:solidFill>
              <a:schemeClr val="tx1"/>
            </a:solidFill>
          </a:endParaRPr>
        </a:p>
      </dgm:t>
    </dgm:pt>
    <dgm:pt modelId="{0C80A140-103B-41C0-9712-E50AB27044E3}" type="parTrans" cxnId="{9990CE20-CD65-4E97-9E00-1451F38FFCFD}">
      <dgm:prSet/>
      <dgm:spPr>
        <a:xfrm>
          <a:off x="5305616" y="776246"/>
          <a:ext cx="5522117" cy="91440"/>
        </a:xfrm>
        <a:custGeom>
          <a:avLst/>
          <a:gdLst/>
          <a:ahLst/>
          <a:cxnLst/>
          <a:rect l="0" t="0" r="0" b="0"/>
          <a:pathLst>
            <a:path>
              <a:moveTo>
                <a:pt x="0" y="45720"/>
              </a:moveTo>
              <a:lnTo>
                <a:pt x="5522117" y="45720"/>
              </a:lnTo>
              <a:lnTo>
                <a:pt x="5522117" y="111368"/>
              </a:lnTo>
            </a:path>
          </a:pathLst>
        </a:custGeom>
        <a:noFill/>
        <a:ln w="12700" cap="flat" cmpd="sng" algn="ctr">
          <a:noFill/>
          <a:prstDash val="solid"/>
          <a:miter lim="800000"/>
        </a:ln>
        <a:effectLst/>
      </dgm:spPr>
      <dgm:t>
        <a:bodyPr/>
        <a:lstStyle/>
        <a:p>
          <a:endParaRPr lang="en-GB">
            <a:solidFill>
              <a:schemeClr val="tx1"/>
            </a:solidFill>
          </a:endParaRPr>
        </a:p>
      </dgm:t>
    </dgm:pt>
    <dgm:pt modelId="{F4EA981A-F986-4877-BD25-5C14FE41D176}">
      <dgm:prSet phldrT="[Text]" custT="1"/>
      <dgm:spPr>
        <a:xfrm>
          <a:off x="7485399" y="1670081"/>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400" dirty="0" smtClean="0">
              <a:solidFill>
                <a:sysClr val="windowText" lastClr="000000"/>
              </a:solidFill>
              <a:latin typeface="Lato"/>
              <a:ea typeface="+mn-ea"/>
              <a:cs typeface="+mn-cs"/>
            </a:rPr>
            <a:t>Weak economic growth outlook</a:t>
          </a:r>
        </a:p>
      </dgm:t>
    </dgm:pt>
    <dgm:pt modelId="{259B2E52-E7E2-4233-88B2-F72E854BF241}" type="parTrans" cxnId="{8A65B98B-160B-4BBA-B57D-BE2EDF8D11CF}">
      <dgm:prSet/>
      <dgm:spPr>
        <a:xfrm>
          <a:off x="7485399" y="1577121"/>
          <a:ext cx="148148" cy="377121"/>
        </a:xfrm>
        <a:custGeom>
          <a:avLst/>
          <a:gdLst/>
          <a:ahLst/>
          <a:cxnLst/>
          <a:rect l="0" t="0" r="0" b="0"/>
          <a:pathLst>
            <a:path>
              <a:moveTo>
                <a:pt x="148148" y="0"/>
              </a:moveTo>
              <a:lnTo>
                <a:pt x="0" y="377121"/>
              </a:lnTo>
            </a:path>
          </a:pathLst>
        </a:custGeom>
        <a:noFill/>
        <a:ln w="12700" cap="flat" cmpd="sng" algn="ctr">
          <a:noFill/>
          <a:prstDash val="solid"/>
          <a:miter lim="800000"/>
        </a:ln>
        <a:effectLst/>
      </dgm:spPr>
      <dgm:t>
        <a:bodyPr/>
        <a:lstStyle/>
        <a:p>
          <a:endParaRPr lang="en-GB">
            <a:solidFill>
              <a:schemeClr val="tx1"/>
            </a:solidFill>
          </a:endParaRPr>
        </a:p>
      </dgm:t>
    </dgm:pt>
    <dgm:pt modelId="{1F6D5CE7-832A-4E64-B338-FC127EF3F3A6}" type="sibTrans" cxnId="{8A65B98B-160B-4BBA-B57D-BE2EDF8D11CF}">
      <dgm:prSet/>
      <dgm:spPr/>
      <dgm:t>
        <a:bodyPr/>
        <a:lstStyle/>
        <a:p>
          <a:endParaRPr lang="en-GB">
            <a:solidFill>
              <a:schemeClr val="tx1"/>
            </a:solidFill>
          </a:endParaRPr>
        </a:p>
      </dgm:t>
    </dgm:pt>
    <dgm:pt modelId="{698692B6-1357-4EE6-9048-DE912A24D330}">
      <dgm:prSet custT="1"/>
      <dgm:spPr>
        <a:xfrm>
          <a:off x="7531443" y="2950482"/>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Inadequate capital investment in production workshops and agriculture</a:t>
          </a:r>
          <a:endParaRPr lang="en-GB" sz="1050" dirty="0">
            <a:solidFill>
              <a:sysClr val="windowText" lastClr="000000"/>
            </a:solidFill>
            <a:latin typeface="Lato"/>
            <a:ea typeface="+mn-ea"/>
            <a:cs typeface="+mn-cs"/>
          </a:endParaRPr>
        </a:p>
      </dgm:t>
    </dgm:pt>
    <dgm:pt modelId="{4367FA1D-0ED9-4CD2-A69D-AB32E669494E}" type="parTrans" cxnId="{E161F89A-1A0B-4996-B618-695861845180}">
      <dgm:prSet/>
      <dgm:spPr>
        <a:xfrm>
          <a:off x="7531443" y="1577121"/>
          <a:ext cx="102103" cy="1657522"/>
        </a:xfrm>
        <a:custGeom>
          <a:avLst/>
          <a:gdLst/>
          <a:ahLst/>
          <a:cxnLst/>
          <a:rect l="0" t="0" r="0" b="0"/>
          <a:pathLst>
            <a:path>
              <a:moveTo>
                <a:pt x="102103" y="0"/>
              </a:moveTo>
              <a:lnTo>
                <a:pt x="0" y="1657522"/>
              </a:lnTo>
            </a:path>
          </a:pathLst>
        </a:custGeom>
        <a:noFill/>
        <a:ln w="12700" cap="flat" cmpd="sng" algn="ctr">
          <a:noFill/>
          <a:prstDash val="solid"/>
          <a:miter lim="800000"/>
        </a:ln>
        <a:effectLst/>
      </dgm:spPr>
      <dgm:t>
        <a:bodyPr/>
        <a:lstStyle/>
        <a:p>
          <a:endParaRPr lang="en-GB">
            <a:solidFill>
              <a:schemeClr val="tx1"/>
            </a:solidFill>
          </a:endParaRPr>
        </a:p>
      </dgm:t>
    </dgm:pt>
    <dgm:pt modelId="{8FA8089E-2D51-4610-81D7-AB21AC040FFC}" type="sibTrans" cxnId="{E161F89A-1A0B-4996-B618-695861845180}">
      <dgm:prSet/>
      <dgm:spPr/>
      <dgm:t>
        <a:bodyPr/>
        <a:lstStyle/>
        <a:p>
          <a:endParaRPr lang="en-GB">
            <a:solidFill>
              <a:schemeClr val="tx1"/>
            </a:solidFill>
          </a:endParaRPr>
        </a:p>
      </dgm:t>
    </dgm:pt>
    <dgm:pt modelId="{93ABD30C-0E7B-486F-A681-9A005A28D744}">
      <dgm:prSet phldrT="[Text]" custT="1"/>
      <dgm:spPr>
        <a:xfrm>
          <a:off x="7531443" y="2310279"/>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Inadequate spending capacity in some expenditure line items</a:t>
          </a:r>
          <a:endParaRPr lang="en-GB" sz="1050" dirty="0" smtClean="0">
            <a:solidFill>
              <a:sysClr val="windowText" lastClr="000000"/>
            </a:solidFill>
            <a:latin typeface="Lato"/>
            <a:ea typeface="+mn-ea"/>
            <a:cs typeface="+mn-cs"/>
          </a:endParaRPr>
        </a:p>
      </dgm:t>
    </dgm:pt>
    <dgm:pt modelId="{B5C8BB55-6EF8-44D3-999A-69265F0E1FBC}" type="parTrans" cxnId="{1F611F66-E825-490E-BB89-E0A1B69C25A0}">
      <dgm:prSet/>
      <dgm:spPr>
        <a:xfrm>
          <a:off x="7531443" y="1577121"/>
          <a:ext cx="102103" cy="1017319"/>
        </a:xfrm>
        <a:custGeom>
          <a:avLst/>
          <a:gdLst/>
          <a:ahLst/>
          <a:cxnLst/>
          <a:rect l="0" t="0" r="0" b="0"/>
          <a:pathLst>
            <a:path>
              <a:moveTo>
                <a:pt x="102103" y="0"/>
              </a:moveTo>
              <a:lnTo>
                <a:pt x="0" y="1017319"/>
              </a:lnTo>
            </a:path>
          </a:pathLst>
        </a:custGeom>
        <a:noFill/>
        <a:ln w="12700" cap="flat" cmpd="sng" algn="ctr">
          <a:noFill/>
          <a:prstDash val="solid"/>
          <a:miter lim="800000"/>
        </a:ln>
        <a:effectLst/>
      </dgm:spPr>
      <dgm:t>
        <a:bodyPr/>
        <a:lstStyle/>
        <a:p>
          <a:endParaRPr lang="en-GB">
            <a:solidFill>
              <a:schemeClr val="tx1"/>
            </a:solidFill>
          </a:endParaRPr>
        </a:p>
      </dgm:t>
    </dgm:pt>
    <dgm:pt modelId="{863BD30A-A7E9-45B6-B8A5-658CBA70071A}" type="sibTrans" cxnId="{1F611F66-E825-490E-BB89-E0A1B69C25A0}">
      <dgm:prSet/>
      <dgm:spPr/>
      <dgm:t>
        <a:bodyPr/>
        <a:lstStyle/>
        <a:p>
          <a:endParaRPr lang="en-GB">
            <a:solidFill>
              <a:schemeClr val="tx1"/>
            </a:solidFill>
          </a:endParaRPr>
        </a:p>
      </dgm:t>
    </dgm:pt>
    <dgm:pt modelId="{9A7E722F-D005-476C-8D43-4076AB9F30B1}">
      <dgm:prSet phldrT="[Text]" custT="1"/>
      <dgm:spPr>
        <a:xfrm>
          <a:off x="87527" y="1551552"/>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ata is maintained in multiple systems that are not integrated</a:t>
          </a:r>
          <a:endParaRPr lang="en-GB" sz="1000" dirty="0">
            <a:solidFill>
              <a:sysClr val="windowText" lastClr="000000"/>
            </a:solidFill>
            <a:latin typeface="Lato"/>
            <a:ea typeface="+mn-ea"/>
            <a:cs typeface="+mn-cs"/>
          </a:endParaRPr>
        </a:p>
      </dgm:t>
    </dgm:pt>
    <dgm:pt modelId="{F2D49BD6-65DF-42A1-872F-280CCBA4DCCB}" type="parTrans" cxnId="{0F4674F9-D005-40C9-B531-F221C97655CF}">
      <dgm:prSet/>
      <dgm:spPr>
        <a:xfrm>
          <a:off x="1899965" y="1499617"/>
          <a:ext cx="91440" cy="277292"/>
        </a:xfrm>
        <a:custGeom>
          <a:avLst/>
          <a:gdLst/>
          <a:ahLst/>
          <a:cxnLst/>
          <a:rect l="0" t="0" r="0" b="0"/>
          <a:pathLst>
            <a:path>
              <a:moveTo>
                <a:pt x="76437" y="0"/>
              </a:moveTo>
              <a:lnTo>
                <a:pt x="76437" y="277292"/>
              </a:lnTo>
              <a:lnTo>
                <a:pt x="45720" y="277292"/>
              </a:lnTo>
            </a:path>
          </a:pathLst>
        </a:custGeom>
        <a:noFill/>
        <a:ln w="12700" cap="flat" cmpd="sng" algn="ctr">
          <a:noFill/>
          <a:prstDash val="solid"/>
          <a:miter lim="800000"/>
        </a:ln>
        <a:effectLst/>
      </dgm:spPr>
      <dgm:t>
        <a:bodyPr/>
        <a:lstStyle/>
        <a:p>
          <a:endParaRPr lang="en-GB">
            <a:solidFill>
              <a:schemeClr val="tx1"/>
            </a:solidFill>
          </a:endParaRPr>
        </a:p>
      </dgm:t>
    </dgm:pt>
    <dgm:pt modelId="{E9B0E5CE-4B6A-49EA-81F0-70936ACBEAC6}" type="sibTrans" cxnId="{0F4674F9-D005-40C9-B531-F221C97655CF}">
      <dgm:prSet/>
      <dgm:spPr/>
      <dgm:t>
        <a:bodyPr/>
        <a:lstStyle/>
        <a:p>
          <a:endParaRPr lang="en-GB">
            <a:solidFill>
              <a:schemeClr val="tx1"/>
            </a:solidFill>
          </a:endParaRPr>
        </a:p>
      </dgm:t>
    </dgm:pt>
    <dgm:pt modelId="{E13C7255-99C3-463C-88B3-944FDDEDDCC1}">
      <dgm:prSet phldrT="[Text]" custT="1"/>
      <dgm:spPr>
        <a:xfrm>
          <a:off x="9905794" y="2583322"/>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Inadequate / Assurance gap on compliance </a:t>
          </a:r>
        </a:p>
      </dgm:t>
    </dgm:pt>
    <dgm:pt modelId="{D9CCD712-DF0C-486C-9EAE-42146F1FF777}" type="parTrans" cxnId="{2814F37C-D24A-44F6-A865-9CA9133E92C4}">
      <dgm:prSet/>
      <dgm:spPr>
        <a:xfrm>
          <a:off x="9860074" y="1494023"/>
          <a:ext cx="91440" cy="1314655"/>
        </a:xfrm>
        <a:custGeom>
          <a:avLst/>
          <a:gdLst/>
          <a:ahLst/>
          <a:cxnLst/>
          <a:rect l="0" t="0" r="0" b="0"/>
          <a:pathLst>
            <a:path>
              <a:moveTo>
                <a:pt x="89258" y="0"/>
              </a:moveTo>
              <a:lnTo>
                <a:pt x="45720" y="1314655"/>
              </a:lnTo>
            </a:path>
          </a:pathLst>
        </a:custGeom>
        <a:noFill/>
        <a:ln w="12700" cap="flat" cmpd="sng" algn="ctr">
          <a:noFill/>
          <a:prstDash val="solid"/>
          <a:miter lim="800000"/>
        </a:ln>
        <a:effectLst/>
      </dgm:spPr>
      <dgm:t>
        <a:bodyPr/>
        <a:lstStyle/>
        <a:p>
          <a:endParaRPr lang="en-GB">
            <a:solidFill>
              <a:schemeClr val="tx1"/>
            </a:solidFill>
          </a:endParaRPr>
        </a:p>
      </dgm:t>
    </dgm:pt>
    <dgm:pt modelId="{731F01EC-ADF1-4DB2-8C85-331B10078BC3}" type="sibTrans" cxnId="{2814F37C-D24A-44F6-A865-9CA9133E92C4}">
      <dgm:prSet/>
      <dgm:spPr/>
      <dgm:t>
        <a:bodyPr/>
        <a:lstStyle/>
        <a:p>
          <a:endParaRPr lang="en-GB">
            <a:solidFill>
              <a:schemeClr val="tx1"/>
            </a:solidFill>
          </a:endParaRPr>
        </a:p>
      </dgm:t>
    </dgm:pt>
    <dgm:pt modelId="{4A08814D-C873-480C-BD28-7A65D53F71D8}">
      <dgm:prSet phldrT="[Text]" custT="1"/>
      <dgm:spPr>
        <a:xfrm>
          <a:off x="9905794" y="4198008"/>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elays in investigations, inadequate consequence management</a:t>
          </a:r>
        </a:p>
      </dgm:t>
    </dgm:pt>
    <dgm:pt modelId="{143F3EEF-62D8-43AD-8063-BA1FD86AC836}" type="parTrans" cxnId="{EFD6FE5F-A43F-4B35-8B32-88E6299931AB}">
      <dgm:prSet/>
      <dgm:spPr>
        <a:xfrm>
          <a:off x="9860074" y="1494023"/>
          <a:ext cx="91440" cy="2929341"/>
        </a:xfrm>
        <a:custGeom>
          <a:avLst/>
          <a:gdLst/>
          <a:ahLst/>
          <a:cxnLst/>
          <a:rect l="0" t="0" r="0" b="0"/>
          <a:pathLst>
            <a:path>
              <a:moveTo>
                <a:pt x="89258" y="0"/>
              </a:moveTo>
              <a:lnTo>
                <a:pt x="45720" y="2929341"/>
              </a:lnTo>
            </a:path>
          </a:pathLst>
        </a:custGeom>
        <a:noFill/>
        <a:ln w="12700" cap="flat" cmpd="sng" algn="ctr">
          <a:noFill/>
          <a:prstDash val="solid"/>
          <a:miter lim="800000"/>
        </a:ln>
        <a:effectLst/>
      </dgm:spPr>
      <dgm:t>
        <a:bodyPr/>
        <a:lstStyle/>
        <a:p>
          <a:endParaRPr lang="en-GB">
            <a:solidFill>
              <a:schemeClr val="tx1"/>
            </a:solidFill>
          </a:endParaRPr>
        </a:p>
      </dgm:t>
    </dgm:pt>
    <dgm:pt modelId="{129A8D46-961B-4A50-B8CF-A0116A842DB6}" type="sibTrans" cxnId="{EFD6FE5F-A43F-4B35-8B32-88E6299931AB}">
      <dgm:prSet/>
      <dgm:spPr/>
      <dgm:t>
        <a:bodyPr/>
        <a:lstStyle/>
        <a:p>
          <a:endParaRPr lang="en-GB">
            <a:solidFill>
              <a:schemeClr val="tx1"/>
            </a:solidFill>
          </a:endParaRPr>
        </a:p>
      </dgm:t>
    </dgm:pt>
    <dgm:pt modelId="{44283B74-6908-4E7F-9B11-0AFB346BE0A4}">
      <dgm:prSet phldrT="[Text]" custT="1"/>
      <dgm:spPr>
        <a:xfrm>
          <a:off x="9905794" y="4720142"/>
          <a:ext cx="1794480" cy="4644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Lack of contract management at Regional/ Management Area level</a:t>
          </a:r>
        </a:p>
      </dgm:t>
    </dgm:pt>
    <dgm:pt modelId="{6C962E12-A7E7-4DBA-B1EE-60065B1DDA80}" type="parTrans" cxnId="{283E295D-081C-4040-8A51-2B21982470D6}">
      <dgm:prSet/>
      <dgm:spPr>
        <a:xfrm>
          <a:off x="9860074" y="1494023"/>
          <a:ext cx="91440" cy="3458319"/>
        </a:xfrm>
        <a:custGeom>
          <a:avLst/>
          <a:gdLst/>
          <a:ahLst/>
          <a:cxnLst/>
          <a:rect l="0" t="0" r="0" b="0"/>
          <a:pathLst>
            <a:path>
              <a:moveTo>
                <a:pt x="89258" y="0"/>
              </a:moveTo>
              <a:lnTo>
                <a:pt x="45720" y="3458319"/>
              </a:lnTo>
            </a:path>
          </a:pathLst>
        </a:custGeom>
        <a:noFill/>
        <a:ln w="12700" cap="flat" cmpd="sng" algn="ctr">
          <a:noFill/>
          <a:prstDash val="solid"/>
          <a:miter lim="800000"/>
        </a:ln>
        <a:effectLst/>
      </dgm:spPr>
      <dgm:t>
        <a:bodyPr/>
        <a:lstStyle/>
        <a:p>
          <a:endParaRPr lang="en-GB">
            <a:solidFill>
              <a:schemeClr val="tx1"/>
            </a:solidFill>
          </a:endParaRPr>
        </a:p>
      </dgm:t>
    </dgm:pt>
    <dgm:pt modelId="{E875A126-A25B-4CD6-A40C-FEDBC81D9ECC}" type="sibTrans" cxnId="{283E295D-081C-4040-8A51-2B21982470D6}">
      <dgm:prSet/>
      <dgm:spPr/>
      <dgm:t>
        <a:bodyPr/>
        <a:lstStyle/>
        <a:p>
          <a:endParaRPr lang="en-GB">
            <a:solidFill>
              <a:schemeClr val="tx1"/>
            </a:solidFill>
          </a:endParaRPr>
        </a:p>
      </dgm:t>
    </dgm:pt>
    <dgm:pt modelId="{8CE32C3B-0D8F-4350-95E0-06E2647F48A5}">
      <dgm:prSet phldrT="[Text]" custT="1"/>
      <dgm:spPr>
        <a:xfrm>
          <a:off x="9905794" y="3649557"/>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Poor planning (demand management)</a:t>
          </a:r>
        </a:p>
      </dgm:t>
    </dgm:pt>
    <dgm:pt modelId="{CBD5489F-E4C0-487E-8E70-409B6544C7FE}" type="parTrans" cxnId="{7283AEC3-5A9D-49B3-B035-280F58A08BAC}">
      <dgm:prSet/>
      <dgm:spPr>
        <a:xfrm>
          <a:off x="9860074" y="1494023"/>
          <a:ext cx="91440" cy="2380890"/>
        </a:xfrm>
        <a:custGeom>
          <a:avLst/>
          <a:gdLst/>
          <a:ahLst/>
          <a:cxnLst/>
          <a:rect l="0" t="0" r="0" b="0"/>
          <a:pathLst>
            <a:path>
              <a:moveTo>
                <a:pt x="89258" y="0"/>
              </a:moveTo>
              <a:lnTo>
                <a:pt x="45720" y="2380890"/>
              </a:lnTo>
            </a:path>
          </a:pathLst>
        </a:custGeom>
        <a:noFill/>
        <a:ln w="12700" cap="flat" cmpd="sng" algn="ctr">
          <a:noFill/>
          <a:prstDash val="solid"/>
          <a:miter lim="800000"/>
        </a:ln>
        <a:effectLst/>
      </dgm:spPr>
      <dgm:t>
        <a:bodyPr/>
        <a:lstStyle/>
        <a:p>
          <a:endParaRPr lang="en-GB">
            <a:solidFill>
              <a:schemeClr val="tx1"/>
            </a:solidFill>
          </a:endParaRPr>
        </a:p>
      </dgm:t>
    </dgm:pt>
    <dgm:pt modelId="{3D84A69F-E197-4E30-9927-1DF3D525EF39}" type="sibTrans" cxnId="{7283AEC3-5A9D-49B3-B035-280F58A08BAC}">
      <dgm:prSet/>
      <dgm:spPr/>
      <dgm:t>
        <a:bodyPr/>
        <a:lstStyle/>
        <a:p>
          <a:endParaRPr lang="en-GB">
            <a:solidFill>
              <a:schemeClr val="tx1"/>
            </a:solidFill>
          </a:endParaRPr>
        </a:p>
      </dgm:t>
    </dgm:pt>
    <dgm:pt modelId="{83E65023-33D0-46DA-A1B3-7F0C7C8C046D}">
      <dgm:prSet phldrT="[Text]" custT="1"/>
      <dgm:spPr>
        <a:xfrm>
          <a:off x="2512579" y="886592"/>
          <a:ext cx="2196003" cy="517130"/>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100" b="1" dirty="0" smtClean="0">
              <a:solidFill>
                <a:sysClr val="windowText" lastClr="000000"/>
              </a:solidFill>
              <a:latin typeface="Lato"/>
              <a:ea typeface="+mn-ea"/>
              <a:cs typeface="+mn-cs"/>
            </a:rPr>
            <a:t>Direct cause:</a:t>
          </a:r>
        </a:p>
        <a:p>
          <a:r>
            <a:rPr lang="en-ZA" sz="1100" b="1" dirty="0" smtClean="0">
              <a:solidFill>
                <a:sysClr val="windowText" lastClr="000000"/>
              </a:solidFill>
              <a:latin typeface="Lato"/>
              <a:ea typeface="+mn-ea"/>
              <a:cs typeface="+mn-cs"/>
            </a:rPr>
            <a:t>Inadequate organisational  capacity</a:t>
          </a:r>
          <a:endParaRPr lang="en-GB" sz="1100" b="1" dirty="0">
            <a:solidFill>
              <a:sysClr val="windowText" lastClr="000000"/>
            </a:solidFill>
            <a:latin typeface="Lato"/>
            <a:ea typeface="+mn-ea"/>
            <a:cs typeface="+mn-cs"/>
          </a:endParaRPr>
        </a:p>
      </dgm:t>
    </dgm:pt>
    <dgm:pt modelId="{5BCFE927-CDC4-4421-909F-E280F719A3A5}" type="parTrans" cxnId="{7B0495A3-A137-4827-9401-8B66BE8E00C2}">
      <dgm:prSet/>
      <dgm:spPr>
        <a:xfrm>
          <a:off x="3610581" y="776246"/>
          <a:ext cx="1695035" cy="91440"/>
        </a:xfrm>
        <a:custGeom>
          <a:avLst/>
          <a:gdLst/>
          <a:ahLst/>
          <a:cxnLst/>
          <a:rect l="0" t="0" r="0" b="0"/>
          <a:pathLst>
            <a:path>
              <a:moveTo>
                <a:pt x="1695035" y="45720"/>
              </a:moveTo>
              <a:lnTo>
                <a:pt x="0" y="45720"/>
              </a:lnTo>
              <a:lnTo>
                <a:pt x="0" y="110345"/>
              </a:lnTo>
            </a:path>
          </a:pathLst>
        </a:custGeom>
        <a:noFill/>
        <a:ln w="12700" cap="flat" cmpd="sng" algn="ctr">
          <a:noFill/>
          <a:prstDash val="solid"/>
          <a:miter lim="800000"/>
        </a:ln>
        <a:effectLst/>
      </dgm:spPr>
      <dgm:t>
        <a:bodyPr/>
        <a:lstStyle/>
        <a:p>
          <a:endParaRPr lang="en-GB"/>
        </a:p>
      </dgm:t>
    </dgm:pt>
    <dgm:pt modelId="{41873B5B-5F5A-4CF2-999E-5FE4C038B5D3}" type="sibTrans" cxnId="{7B0495A3-A137-4827-9401-8B66BE8E00C2}">
      <dgm:prSet/>
      <dgm:spPr/>
      <dgm:t>
        <a:bodyPr/>
        <a:lstStyle/>
        <a:p>
          <a:endParaRPr lang="en-GB"/>
        </a:p>
      </dgm:t>
    </dgm:pt>
    <dgm:pt modelId="{E9AADBDC-3898-4643-98BB-93A35F6F1C1F}">
      <dgm:prSet custT="1"/>
      <dgm:spPr>
        <a:xfrm>
          <a:off x="4919463" y="886592"/>
          <a:ext cx="2196003" cy="551606"/>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400" b="1" dirty="0" smtClean="0">
              <a:solidFill>
                <a:sysClr val="windowText" lastClr="000000"/>
              </a:solidFill>
              <a:latin typeface="Lato"/>
              <a:ea typeface="+mn-ea"/>
              <a:cs typeface="+mn-cs"/>
            </a:rPr>
            <a:t>Direct cause:</a:t>
          </a:r>
        </a:p>
        <a:p>
          <a:r>
            <a:rPr lang="en-ZA" sz="1400" b="1" dirty="0" smtClean="0">
              <a:solidFill>
                <a:sysClr val="windowText" lastClr="000000"/>
              </a:solidFill>
              <a:latin typeface="Lato"/>
              <a:ea typeface="+mn-ea"/>
              <a:cs typeface="+mn-cs"/>
            </a:rPr>
            <a:t>Lowly skilled staff</a:t>
          </a:r>
          <a:endParaRPr lang="en-GB" sz="1400" b="1" dirty="0">
            <a:solidFill>
              <a:sysClr val="windowText" lastClr="000000"/>
            </a:solidFill>
            <a:latin typeface="Lato"/>
            <a:ea typeface="+mn-ea"/>
            <a:cs typeface="+mn-cs"/>
          </a:endParaRPr>
        </a:p>
      </dgm:t>
    </dgm:pt>
    <dgm:pt modelId="{3CFDB6E9-11D5-4EF0-A84F-588AF277B995}" type="parTrans" cxnId="{133C2F8B-2205-4D82-A49C-08BF37C9CA3D}">
      <dgm:prSet/>
      <dgm:spPr>
        <a:xfrm>
          <a:off x="5305616" y="776246"/>
          <a:ext cx="711848" cy="91440"/>
        </a:xfrm>
        <a:custGeom>
          <a:avLst/>
          <a:gdLst/>
          <a:ahLst/>
          <a:cxnLst/>
          <a:rect l="0" t="0" r="0" b="0"/>
          <a:pathLst>
            <a:path>
              <a:moveTo>
                <a:pt x="0" y="45720"/>
              </a:moveTo>
              <a:lnTo>
                <a:pt x="711848" y="45720"/>
              </a:lnTo>
              <a:lnTo>
                <a:pt x="711848" y="110345"/>
              </a:lnTo>
            </a:path>
          </a:pathLst>
        </a:custGeom>
        <a:noFill/>
        <a:ln w="12700" cap="flat" cmpd="sng" algn="ctr">
          <a:noFill/>
          <a:prstDash val="solid"/>
          <a:miter lim="800000"/>
        </a:ln>
        <a:effectLst/>
      </dgm:spPr>
      <dgm:t>
        <a:bodyPr/>
        <a:lstStyle/>
        <a:p>
          <a:endParaRPr lang="en-GB"/>
        </a:p>
      </dgm:t>
    </dgm:pt>
    <dgm:pt modelId="{F6738647-C183-4A57-A2B7-E23A6AB95EC2}" type="sibTrans" cxnId="{133C2F8B-2205-4D82-A49C-08BF37C9CA3D}">
      <dgm:prSet/>
      <dgm:spPr/>
      <dgm:t>
        <a:bodyPr/>
        <a:lstStyle/>
        <a:p>
          <a:endParaRPr lang="en-GB"/>
        </a:p>
      </dgm:t>
    </dgm:pt>
    <dgm:pt modelId="{25DBDE9B-DA2B-4E29-B989-575DA86021B8}">
      <dgm:prSet custT="1"/>
      <dgm:spPr>
        <a:xfrm>
          <a:off x="5058557" y="1527813"/>
          <a:ext cx="2027076" cy="67488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training and leadership development</a:t>
          </a:r>
          <a:endParaRPr lang="en-GB" sz="1200" dirty="0">
            <a:solidFill>
              <a:sysClr val="windowText" lastClr="000000"/>
            </a:solidFill>
            <a:latin typeface="Lato"/>
            <a:ea typeface="+mn-ea"/>
            <a:cs typeface="+mn-cs"/>
          </a:endParaRPr>
        </a:p>
      </dgm:t>
    </dgm:pt>
    <dgm:pt modelId="{3434C784-D2EB-4907-A577-1424C17A4231}" type="parTrans" cxnId="{AA6359FF-4F85-4ED4-8C88-2B1E5DA2435B}">
      <dgm:prSet/>
      <dgm:spPr>
        <a:xfrm>
          <a:off x="5012837" y="1438198"/>
          <a:ext cx="91440" cy="427055"/>
        </a:xfrm>
        <a:custGeom>
          <a:avLst/>
          <a:gdLst/>
          <a:ahLst/>
          <a:cxnLst/>
          <a:rect l="0" t="0" r="0" b="0"/>
          <a:pathLst>
            <a:path>
              <a:moveTo>
                <a:pt x="126225" y="0"/>
              </a:moveTo>
              <a:lnTo>
                <a:pt x="45720" y="427055"/>
              </a:lnTo>
            </a:path>
          </a:pathLst>
        </a:custGeom>
        <a:noFill/>
        <a:ln w="12700" cap="flat" cmpd="sng" algn="ctr">
          <a:noFill/>
          <a:prstDash val="solid"/>
          <a:miter lim="800000"/>
        </a:ln>
        <a:effectLst/>
      </dgm:spPr>
      <dgm:t>
        <a:bodyPr/>
        <a:lstStyle/>
        <a:p>
          <a:endParaRPr lang="en-GB"/>
        </a:p>
      </dgm:t>
    </dgm:pt>
    <dgm:pt modelId="{50EDEB7E-A84B-4457-B895-1CBBC66EB484}" type="sibTrans" cxnId="{AA6359FF-4F85-4ED4-8C88-2B1E5DA2435B}">
      <dgm:prSet/>
      <dgm:spPr/>
      <dgm:t>
        <a:bodyPr/>
        <a:lstStyle/>
        <a:p>
          <a:endParaRPr lang="en-GB"/>
        </a:p>
      </dgm:t>
    </dgm:pt>
    <dgm:pt modelId="{36F930DE-36A9-4BBF-B0E6-9FDFEF9E53E4}">
      <dgm:prSet custT="1"/>
      <dgm:spPr>
        <a:xfrm>
          <a:off x="5075414" y="2310708"/>
          <a:ext cx="2027076" cy="6393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Lack of talent management strategy</a:t>
          </a:r>
          <a:endParaRPr lang="en-GB" sz="1200" dirty="0">
            <a:solidFill>
              <a:sysClr val="windowText" lastClr="000000"/>
            </a:solidFill>
            <a:latin typeface="Lato"/>
            <a:ea typeface="+mn-ea"/>
            <a:cs typeface="+mn-cs"/>
          </a:endParaRPr>
        </a:p>
      </dgm:t>
    </dgm:pt>
    <dgm:pt modelId="{EB2D0AFA-7107-4A7F-B30A-85794C6D48A5}" type="parTrans" cxnId="{743F7899-4BBB-4EEF-86C9-0967FD1E65A9}">
      <dgm:prSet/>
      <dgm:spPr>
        <a:xfrm>
          <a:off x="5029694" y="1438198"/>
          <a:ext cx="91440" cy="1192191"/>
        </a:xfrm>
        <a:custGeom>
          <a:avLst/>
          <a:gdLst/>
          <a:ahLst/>
          <a:cxnLst/>
          <a:rect l="0" t="0" r="0" b="0"/>
          <a:pathLst>
            <a:path>
              <a:moveTo>
                <a:pt x="109368" y="0"/>
              </a:moveTo>
              <a:lnTo>
                <a:pt x="45720" y="1192191"/>
              </a:lnTo>
            </a:path>
          </a:pathLst>
        </a:custGeom>
        <a:noFill/>
        <a:ln w="12700" cap="flat" cmpd="sng" algn="ctr">
          <a:noFill/>
          <a:prstDash val="solid"/>
          <a:miter lim="800000"/>
        </a:ln>
        <a:effectLst/>
      </dgm:spPr>
      <dgm:t>
        <a:bodyPr/>
        <a:lstStyle/>
        <a:p>
          <a:endParaRPr lang="en-GB"/>
        </a:p>
      </dgm:t>
    </dgm:pt>
    <dgm:pt modelId="{D3C4AB0A-4E1C-47C7-BEF5-32E8F3E7149D}" type="sibTrans" cxnId="{743F7899-4BBB-4EEF-86C9-0967FD1E65A9}">
      <dgm:prSet/>
      <dgm:spPr/>
      <dgm:t>
        <a:bodyPr/>
        <a:lstStyle/>
        <a:p>
          <a:endParaRPr lang="en-GB"/>
        </a:p>
      </dgm:t>
    </dgm:pt>
    <dgm:pt modelId="{2FEE9ABB-9118-4F89-B57E-5FB3AE26A9DD}">
      <dgm:prSet phldrT="[Text]" custT="1"/>
      <dgm:spPr>
        <a:xfrm>
          <a:off x="9902486" y="1561013"/>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Unethical conduct</a:t>
          </a:r>
        </a:p>
      </dgm:t>
    </dgm:pt>
    <dgm:pt modelId="{053B73E8-8B63-4D84-B935-856163DE1EFC}" type="parTrans" cxnId="{0606DEBD-A738-45F8-878E-22E1464A165A}">
      <dgm:prSet/>
      <dgm:spPr>
        <a:xfrm>
          <a:off x="9856766" y="1494023"/>
          <a:ext cx="91440" cy="292346"/>
        </a:xfrm>
        <a:custGeom>
          <a:avLst/>
          <a:gdLst/>
          <a:ahLst/>
          <a:cxnLst/>
          <a:rect l="0" t="0" r="0" b="0"/>
          <a:pathLst>
            <a:path>
              <a:moveTo>
                <a:pt x="92566" y="0"/>
              </a:moveTo>
              <a:lnTo>
                <a:pt x="45720" y="292346"/>
              </a:lnTo>
            </a:path>
          </a:pathLst>
        </a:custGeom>
        <a:noFill/>
        <a:ln w="12700" cap="flat" cmpd="sng" algn="ctr">
          <a:noFill/>
          <a:prstDash val="solid"/>
          <a:miter lim="800000"/>
        </a:ln>
        <a:effectLst/>
      </dgm:spPr>
      <dgm:t>
        <a:bodyPr/>
        <a:lstStyle/>
        <a:p>
          <a:endParaRPr lang="en-GB"/>
        </a:p>
      </dgm:t>
    </dgm:pt>
    <dgm:pt modelId="{F9266172-523F-4991-A3D1-6A0955532AA2}" type="sibTrans" cxnId="{0606DEBD-A738-45F8-878E-22E1464A165A}">
      <dgm:prSet/>
      <dgm:spPr/>
      <dgm:t>
        <a:bodyPr/>
        <a:lstStyle/>
        <a:p>
          <a:endParaRPr lang="en-GB"/>
        </a:p>
      </dgm:t>
    </dgm:pt>
    <dgm:pt modelId="{A8A7589E-3DC7-45D1-8F72-BB5B052E3F69}">
      <dgm:prSet custT="1"/>
      <dgm:spPr>
        <a:xfrm>
          <a:off x="87527" y="2072113"/>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Manual systems that are prone to human error, high security risks</a:t>
          </a:r>
          <a:endParaRPr lang="en-GB" sz="1000" dirty="0" smtClean="0">
            <a:solidFill>
              <a:sysClr val="windowText" lastClr="000000"/>
            </a:solidFill>
            <a:latin typeface="Lato"/>
            <a:ea typeface="+mn-ea"/>
            <a:cs typeface="+mn-cs"/>
          </a:endParaRPr>
        </a:p>
      </dgm:t>
    </dgm:pt>
    <dgm:pt modelId="{A4FDCB02-4C5E-4D69-833B-37E08536214A}" type="parTrans" cxnId="{D5BEF9F0-CA14-4245-AF76-AA1EDD37020C}">
      <dgm:prSet/>
      <dgm:spPr>
        <a:xfrm>
          <a:off x="1899965" y="1499617"/>
          <a:ext cx="91440" cy="797853"/>
        </a:xfrm>
        <a:custGeom>
          <a:avLst/>
          <a:gdLst/>
          <a:ahLst/>
          <a:cxnLst/>
          <a:rect l="0" t="0" r="0" b="0"/>
          <a:pathLst>
            <a:path>
              <a:moveTo>
                <a:pt x="76437" y="0"/>
              </a:moveTo>
              <a:lnTo>
                <a:pt x="76437" y="797853"/>
              </a:lnTo>
              <a:lnTo>
                <a:pt x="45720" y="797853"/>
              </a:lnTo>
            </a:path>
          </a:pathLst>
        </a:custGeom>
        <a:noFill/>
        <a:ln w="12700" cap="flat" cmpd="sng" algn="ctr">
          <a:noFill/>
          <a:prstDash val="solid"/>
          <a:miter lim="800000"/>
        </a:ln>
        <a:effectLst/>
      </dgm:spPr>
      <dgm:t>
        <a:bodyPr/>
        <a:lstStyle/>
        <a:p>
          <a:endParaRPr lang="en-GB"/>
        </a:p>
      </dgm:t>
    </dgm:pt>
    <dgm:pt modelId="{8F84F8C6-91B2-45A5-90E5-6C25B3D5C642}" type="sibTrans" cxnId="{D5BEF9F0-CA14-4245-AF76-AA1EDD37020C}">
      <dgm:prSet/>
      <dgm:spPr/>
      <dgm:t>
        <a:bodyPr/>
        <a:lstStyle/>
        <a:p>
          <a:endParaRPr lang="en-GB"/>
        </a:p>
      </dgm:t>
    </dgm:pt>
    <dgm:pt modelId="{8AFF9318-8DC2-4264-8170-0C61AAFD79FE}">
      <dgm:prSet custT="1"/>
      <dgm:spPr>
        <a:xfrm>
          <a:off x="87527" y="2594252"/>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100" dirty="0" smtClean="0">
              <a:solidFill>
                <a:sysClr val="windowText" lastClr="000000"/>
              </a:solidFill>
              <a:latin typeface="Lato"/>
              <a:ea typeface="+mn-ea"/>
              <a:cs typeface="+mn-cs"/>
            </a:rPr>
            <a:t>Inadequate ICT connectivity (bandwidth)</a:t>
          </a:r>
        </a:p>
      </dgm:t>
    </dgm:pt>
    <dgm:pt modelId="{2536716E-9789-487C-BB4D-6AEC03913F78}" type="parTrans" cxnId="{19D485BA-3A07-4762-8298-37C38471E62F}">
      <dgm:prSet/>
      <dgm:spPr>
        <a:xfrm>
          <a:off x="1899965" y="1499617"/>
          <a:ext cx="91440" cy="1319991"/>
        </a:xfrm>
        <a:custGeom>
          <a:avLst/>
          <a:gdLst/>
          <a:ahLst/>
          <a:cxnLst/>
          <a:rect l="0" t="0" r="0" b="0"/>
          <a:pathLst>
            <a:path>
              <a:moveTo>
                <a:pt x="76437" y="0"/>
              </a:moveTo>
              <a:lnTo>
                <a:pt x="76437" y="1319991"/>
              </a:lnTo>
              <a:lnTo>
                <a:pt x="45720" y="1319991"/>
              </a:lnTo>
            </a:path>
          </a:pathLst>
        </a:custGeom>
        <a:noFill/>
        <a:ln w="12700" cap="flat" cmpd="sng" algn="ctr">
          <a:noFill/>
          <a:prstDash val="solid"/>
          <a:miter lim="800000"/>
        </a:ln>
        <a:effectLst/>
      </dgm:spPr>
      <dgm:t>
        <a:bodyPr/>
        <a:lstStyle/>
        <a:p>
          <a:endParaRPr lang="en-GB"/>
        </a:p>
      </dgm:t>
    </dgm:pt>
    <dgm:pt modelId="{666101ED-8211-4982-9264-B193DFA3F7F5}" type="sibTrans" cxnId="{19D485BA-3A07-4762-8298-37C38471E62F}">
      <dgm:prSet/>
      <dgm:spPr/>
      <dgm:t>
        <a:bodyPr/>
        <a:lstStyle/>
        <a:p>
          <a:endParaRPr lang="en-GB"/>
        </a:p>
      </dgm:t>
    </dgm:pt>
    <dgm:pt modelId="{1ABE179A-0583-4343-B229-7613337F1F01}">
      <dgm:prSet custT="1"/>
      <dgm:spPr>
        <a:xfrm>
          <a:off x="87527" y="3116386"/>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Old infrastructure that is obsolete</a:t>
          </a:r>
          <a:endParaRPr lang="en-GB" sz="1200" dirty="0" smtClean="0">
            <a:solidFill>
              <a:sysClr val="windowText" lastClr="000000"/>
            </a:solidFill>
            <a:latin typeface="Lato"/>
            <a:ea typeface="+mn-ea"/>
            <a:cs typeface="+mn-cs"/>
          </a:endParaRPr>
        </a:p>
      </dgm:t>
    </dgm:pt>
    <dgm:pt modelId="{A8EDCBF5-48EE-49F5-8B6F-59FB4A586749}" type="parTrans" cxnId="{6AD3CF5A-10F3-453F-9365-B644F44C4A8C}">
      <dgm:prSet/>
      <dgm:spPr>
        <a:xfrm>
          <a:off x="1899965" y="1499617"/>
          <a:ext cx="91440" cy="1842125"/>
        </a:xfrm>
        <a:custGeom>
          <a:avLst/>
          <a:gdLst/>
          <a:ahLst/>
          <a:cxnLst/>
          <a:rect l="0" t="0" r="0" b="0"/>
          <a:pathLst>
            <a:path>
              <a:moveTo>
                <a:pt x="76437" y="0"/>
              </a:moveTo>
              <a:lnTo>
                <a:pt x="76437" y="1842125"/>
              </a:lnTo>
              <a:lnTo>
                <a:pt x="45720" y="1842125"/>
              </a:lnTo>
            </a:path>
          </a:pathLst>
        </a:custGeom>
        <a:noFill/>
        <a:ln w="12700" cap="flat" cmpd="sng" algn="ctr">
          <a:noFill/>
          <a:prstDash val="solid"/>
          <a:miter lim="800000"/>
        </a:ln>
        <a:effectLst/>
      </dgm:spPr>
      <dgm:t>
        <a:bodyPr/>
        <a:lstStyle/>
        <a:p>
          <a:endParaRPr lang="en-GB"/>
        </a:p>
      </dgm:t>
    </dgm:pt>
    <dgm:pt modelId="{DBF07675-A5B8-400A-9E2A-E3662E5E1631}" type="sibTrans" cxnId="{6AD3CF5A-10F3-453F-9365-B644F44C4A8C}">
      <dgm:prSet/>
      <dgm:spPr/>
      <dgm:t>
        <a:bodyPr/>
        <a:lstStyle/>
        <a:p>
          <a:endParaRPr lang="en-GB"/>
        </a:p>
      </dgm:t>
    </dgm:pt>
    <dgm:pt modelId="{B3CDC9F2-1FA6-4E0F-8439-B8268D9B8069}">
      <dgm:prSet custT="1"/>
      <dgm:spPr>
        <a:xfrm>
          <a:off x="87527" y="3713112"/>
          <a:ext cx="1858157" cy="60384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Lack of  security technology standard to meet functional requirements</a:t>
          </a:r>
          <a:endParaRPr lang="en-GB" sz="1050" dirty="0" smtClean="0">
            <a:solidFill>
              <a:sysClr val="windowText" lastClr="000000"/>
            </a:solidFill>
            <a:latin typeface="Lato"/>
            <a:ea typeface="+mn-ea"/>
            <a:cs typeface="+mn-cs"/>
          </a:endParaRPr>
        </a:p>
      </dgm:t>
    </dgm:pt>
    <dgm:pt modelId="{74CFB57A-27E6-492C-AA1E-444AA012A6C4}" type="parTrans" cxnId="{EEFEDA24-8561-4FEC-9D00-07968C607754}">
      <dgm:prSet/>
      <dgm:spPr>
        <a:xfrm>
          <a:off x="1899965" y="1499617"/>
          <a:ext cx="91440" cy="2515417"/>
        </a:xfrm>
        <a:custGeom>
          <a:avLst/>
          <a:gdLst/>
          <a:ahLst/>
          <a:cxnLst/>
          <a:rect l="0" t="0" r="0" b="0"/>
          <a:pathLst>
            <a:path>
              <a:moveTo>
                <a:pt x="76437" y="0"/>
              </a:moveTo>
              <a:lnTo>
                <a:pt x="76437" y="2515417"/>
              </a:lnTo>
              <a:lnTo>
                <a:pt x="45720" y="2515417"/>
              </a:lnTo>
            </a:path>
          </a:pathLst>
        </a:custGeom>
        <a:noFill/>
        <a:ln w="12700" cap="flat" cmpd="sng" algn="ctr">
          <a:noFill/>
          <a:prstDash val="solid"/>
          <a:miter lim="800000"/>
        </a:ln>
        <a:effectLst/>
      </dgm:spPr>
      <dgm:t>
        <a:bodyPr/>
        <a:lstStyle/>
        <a:p>
          <a:endParaRPr lang="en-GB"/>
        </a:p>
      </dgm:t>
    </dgm:pt>
    <dgm:pt modelId="{B0125F60-2B77-4FFD-9FBC-A9FA2F50345F}" type="sibTrans" cxnId="{EEFEDA24-8561-4FEC-9D00-07968C607754}">
      <dgm:prSet/>
      <dgm:spPr/>
      <dgm:t>
        <a:bodyPr/>
        <a:lstStyle/>
        <a:p>
          <a:endParaRPr lang="en-GB"/>
        </a:p>
      </dgm:t>
    </dgm:pt>
    <dgm:pt modelId="{55C81A84-977C-474F-9898-E3299C72446E}">
      <dgm:prSet custT="1"/>
      <dgm:spPr>
        <a:xfrm>
          <a:off x="87527" y="4388381"/>
          <a:ext cx="1858157" cy="78144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ysfunctional and ineffective of Security Technology (no integration between Information Network and Security Technology)</a:t>
          </a:r>
          <a:endParaRPr lang="en-GB" sz="1000" dirty="0" smtClean="0">
            <a:solidFill>
              <a:sysClr val="windowText" lastClr="000000"/>
            </a:solidFill>
            <a:latin typeface="Lato"/>
            <a:ea typeface="+mn-ea"/>
            <a:cs typeface="+mn-cs"/>
          </a:endParaRPr>
        </a:p>
      </dgm:t>
    </dgm:pt>
    <dgm:pt modelId="{85EB6D14-3548-49D4-9B2D-95B6FE3E896E}" type="parTrans" cxnId="{9E42F9B0-FA3B-424E-96E5-FB6842016EA0}">
      <dgm:prSet/>
      <dgm:spPr>
        <a:xfrm>
          <a:off x="1899965" y="1499617"/>
          <a:ext cx="91440" cy="3279485"/>
        </a:xfrm>
        <a:custGeom>
          <a:avLst/>
          <a:gdLst/>
          <a:ahLst/>
          <a:cxnLst/>
          <a:rect l="0" t="0" r="0" b="0"/>
          <a:pathLst>
            <a:path>
              <a:moveTo>
                <a:pt x="76437" y="0"/>
              </a:moveTo>
              <a:lnTo>
                <a:pt x="76437" y="3279485"/>
              </a:lnTo>
              <a:lnTo>
                <a:pt x="45720" y="3279485"/>
              </a:lnTo>
            </a:path>
          </a:pathLst>
        </a:custGeom>
        <a:noFill/>
        <a:ln w="12700" cap="flat" cmpd="sng" algn="ctr">
          <a:noFill/>
          <a:prstDash val="solid"/>
          <a:miter lim="800000"/>
        </a:ln>
        <a:effectLst/>
      </dgm:spPr>
      <dgm:t>
        <a:bodyPr/>
        <a:lstStyle/>
        <a:p>
          <a:endParaRPr lang="en-GB"/>
        </a:p>
      </dgm:t>
    </dgm:pt>
    <dgm:pt modelId="{9018FE6B-7938-4F58-8E7C-8780258137CC}" type="sibTrans" cxnId="{9E42F9B0-FA3B-424E-96E5-FB6842016EA0}">
      <dgm:prSet/>
      <dgm:spPr/>
      <dgm:t>
        <a:bodyPr/>
        <a:lstStyle/>
        <a:p>
          <a:endParaRPr lang="en-GB"/>
        </a:p>
      </dgm:t>
    </dgm:pt>
    <dgm:pt modelId="{1E3C57A8-D11A-4464-B252-393BA62CA1A4}">
      <dgm:prSet/>
      <dgm:spPr>
        <a:xfrm>
          <a:off x="2613381" y="459598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Inadequate investment in integrated employee health and wellness</a:t>
          </a:r>
          <a:endParaRPr lang="en-GB" dirty="0">
            <a:solidFill>
              <a:sysClr val="windowText" lastClr="000000"/>
            </a:solidFill>
            <a:latin typeface="Lato"/>
            <a:ea typeface="+mn-ea"/>
            <a:cs typeface="+mn-cs"/>
          </a:endParaRPr>
        </a:p>
      </dgm:t>
    </dgm:pt>
    <dgm:pt modelId="{88907CE6-6462-4C5F-8943-6C7E5D76B19C}" type="parTrans" cxnId="{75AFB2F3-479B-494C-B247-2CE3D35FC60B}">
      <dgm:prSet/>
      <dgm:spPr>
        <a:xfrm>
          <a:off x="4443262" y="1403723"/>
          <a:ext cx="91440" cy="3417613"/>
        </a:xfrm>
        <a:custGeom>
          <a:avLst/>
          <a:gdLst/>
          <a:ahLst/>
          <a:cxnLst/>
          <a:rect l="0" t="0" r="0" b="0"/>
          <a:pathLst>
            <a:path>
              <a:moveTo>
                <a:pt x="45720" y="0"/>
              </a:moveTo>
              <a:lnTo>
                <a:pt x="126072" y="3417613"/>
              </a:lnTo>
            </a:path>
          </a:pathLst>
        </a:custGeom>
        <a:noFill/>
        <a:ln w="12700" cap="flat" cmpd="sng" algn="ctr">
          <a:noFill/>
          <a:prstDash val="solid"/>
          <a:miter lim="800000"/>
        </a:ln>
        <a:effectLst/>
      </dgm:spPr>
      <dgm:t>
        <a:bodyPr/>
        <a:lstStyle/>
        <a:p>
          <a:endParaRPr lang="en-GB"/>
        </a:p>
      </dgm:t>
    </dgm:pt>
    <dgm:pt modelId="{544D910C-A3DC-4303-885C-9D01D7F73DFF}" type="sibTrans" cxnId="{75AFB2F3-479B-494C-B247-2CE3D35FC60B}">
      <dgm:prSet/>
      <dgm:spPr/>
      <dgm:t>
        <a:bodyPr/>
        <a:lstStyle/>
        <a:p>
          <a:endParaRPr lang="en-GB"/>
        </a:p>
      </dgm:t>
    </dgm:pt>
    <dgm:pt modelId="{F29A0D9E-A4D4-4086-BF87-078907F654D3}">
      <dgm:prSet custT="1"/>
      <dgm:spPr>
        <a:xfrm>
          <a:off x="5066869" y="3021618"/>
          <a:ext cx="2027076" cy="64013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a:t>
          </a:r>
          <a:r>
            <a:rPr lang="en-ZA" sz="1200" dirty="0" err="1" smtClean="0">
              <a:solidFill>
                <a:sysClr val="windowText" lastClr="000000"/>
              </a:solidFill>
              <a:latin typeface="Lato"/>
              <a:ea typeface="+mn-ea"/>
              <a:cs typeface="+mn-cs"/>
            </a:rPr>
            <a:t>Covid</a:t>
          </a:r>
          <a:r>
            <a:rPr lang="en-ZA" sz="1200" dirty="0" smtClean="0">
              <a:solidFill>
                <a:sysClr val="windowText" lastClr="000000"/>
              </a:solidFill>
              <a:latin typeface="Lato"/>
              <a:ea typeface="+mn-ea"/>
              <a:cs typeface="+mn-cs"/>
            </a:rPr>
            <a:t> 19 awareness among officials</a:t>
          </a:r>
          <a:endParaRPr lang="en-GB" sz="1200" dirty="0">
            <a:solidFill>
              <a:sysClr val="windowText" lastClr="000000"/>
            </a:solidFill>
            <a:latin typeface="Lato"/>
            <a:ea typeface="+mn-ea"/>
            <a:cs typeface="+mn-cs"/>
          </a:endParaRPr>
        </a:p>
      </dgm:t>
    </dgm:pt>
    <dgm:pt modelId="{85F876EE-37BA-45E8-8766-D372D6B5A6B4}" type="parTrans" cxnId="{2C8C894A-A07D-4904-95D1-C54BA9177EDD}">
      <dgm:prSet/>
      <dgm:spPr>
        <a:xfrm>
          <a:off x="5021149" y="1438198"/>
          <a:ext cx="91440" cy="1903485"/>
        </a:xfrm>
        <a:custGeom>
          <a:avLst/>
          <a:gdLst/>
          <a:ahLst/>
          <a:cxnLst/>
          <a:rect l="0" t="0" r="0" b="0"/>
          <a:pathLst>
            <a:path>
              <a:moveTo>
                <a:pt x="117914" y="0"/>
              </a:moveTo>
              <a:lnTo>
                <a:pt x="45720" y="1903485"/>
              </a:lnTo>
            </a:path>
          </a:pathLst>
        </a:custGeom>
        <a:noFill/>
        <a:ln w="12700" cap="flat" cmpd="sng" algn="ctr">
          <a:noFill/>
          <a:prstDash val="solid"/>
          <a:miter lim="800000"/>
        </a:ln>
        <a:effectLst/>
      </dgm:spPr>
      <dgm:t>
        <a:bodyPr/>
        <a:lstStyle/>
        <a:p>
          <a:endParaRPr lang="en-GB"/>
        </a:p>
      </dgm:t>
    </dgm:pt>
    <dgm:pt modelId="{DD5D082F-12EE-4E5C-86FC-FF114B8B3083}" type="sibTrans" cxnId="{2C8C894A-A07D-4904-95D1-C54BA9177EDD}">
      <dgm:prSet/>
      <dgm:spPr/>
      <dgm:t>
        <a:bodyPr/>
        <a:lstStyle/>
        <a:p>
          <a:endParaRPr lang="en-GB"/>
        </a:p>
      </dgm:t>
    </dgm:pt>
    <dgm:pt modelId="{2AC042F1-67EC-4815-A747-C27DA26D9618}" type="pres">
      <dgm:prSet presAssocID="{8022EEFC-19A3-4AF2-888C-321CE5B24E4C}" presName="hierChild1" presStyleCnt="0">
        <dgm:presLayoutVars>
          <dgm:orgChart val="1"/>
          <dgm:chPref val="1"/>
          <dgm:dir/>
          <dgm:animOne val="branch"/>
          <dgm:animLvl val="lvl"/>
          <dgm:resizeHandles/>
        </dgm:presLayoutVars>
      </dgm:prSet>
      <dgm:spPr/>
      <dgm:t>
        <a:bodyPr/>
        <a:lstStyle/>
        <a:p>
          <a:endParaRPr lang="en-GB"/>
        </a:p>
      </dgm:t>
    </dgm:pt>
    <dgm:pt modelId="{FB279467-F3D0-4A2A-9DFD-7DF66D00DCAB}" type="pres">
      <dgm:prSet presAssocID="{563B9CF3-40AE-4F6D-9802-FBE29F2DB0FD}" presName="hierRoot1" presStyleCnt="0">
        <dgm:presLayoutVars>
          <dgm:hierBranch val="init"/>
        </dgm:presLayoutVars>
      </dgm:prSet>
      <dgm:spPr/>
    </dgm:pt>
    <dgm:pt modelId="{EA635651-E5EE-4B65-A430-C8E1B4EEAABF}" type="pres">
      <dgm:prSet presAssocID="{563B9CF3-40AE-4F6D-9802-FBE29F2DB0FD}" presName="rootComposite1" presStyleCnt="0"/>
      <dgm:spPr/>
    </dgm:pt>
    <dgm:pt modelId="{A9E37B58-C84D-4333-9EB6-FEA63F667BD6}" type="pres">
      <dgm:prSet presAssocID="{563B9CF3-40AE-4F6D-9802-FBE29F2DB0FD}" presName="rootText1" presStyleLbl="node0" presStyleIdx="0" presStyleCnt="1" custScaleX="1148068" custScaleY="182370" custLinFactNeighborX="-86428" custLinFactNeighborY="-5584">
        <dgm:presLayoutVars>
          <dgm:chPref val="3"/>
        </dgm:presLayoutVars>
      </dgm:prSet>
      <dgm:spPr/>
      <dgm:t>
        <a:bodyPr/>
        <a:lstStyle/>
        <a:p>
          <a:endParaRPr lang="en-GB"/>
        </a:p>
      </dgm:t>
    </dgm:pt>
    <dgm:pt modelId="{71995690-C90E-4D6E-B859-E011C699A051}" type="pres">
      <dgm:prSet presAssocID="{563B9CF3-40AE-4F6D-9802-FBE29F2DB0FD}" presName="rootConnector1" presStyleLbl="node1" presStyleIdx="0" presStyleCnt="0"/>
      <dgm:spPr/>
      <dgm:t>
        <a:bodyPr/>
        <a:lstStyle/>
        <a:p>
          <a:endParaRPr lang="en-GB"/>
        </a:p>
      </dgm:t>
    </dgm:pt>
    <dgm:pt modelId="{066E69C0-C6CF-4B2F-9503-59BB14177765}" type="pres">
      <dgm:prSet presAssocID="{563B9CF3-40AE-4F6D-9802-FBE29F2DB0FD}" presName="hierChild2" presStyleCnt="0"/>
      <dgm:spPr/>
    </dgm:pt>
    <dgm:pt modelId="{DE7B0CDF-331C-43D7-B14C-4D2214ECC84C}" type="pres">
      <dgm:prSet presAssocID="{A0F550C9-0B7E-4467-B60C-2FE33DB848F1}" presName="Name37" presStyleLbl="parChTrans1D2" presStyleIdx="0" presStyleCnt="5"/>
      <dgm:spPr/>
      <dgm:t>
        <a:bodyPr/>
        <a:lstStyle/>
        <a:p>
          <a:endParaRPr lang="en-GB"/>
        </a:p>
      </dgm:t>
    </dgm:pt>
    <dgm:pt modelId="{E95E3131-A08A-43F9-AFEC-504F1171E205}" type="pres">
      <dgm:prSet presAssocID="{27C0C58C-3A95-4427-952F-34ADD3E4CA9C}" presName="hierRoot2" presStyleCnt="0">
        <dgm:presLayoutVars>
          <dgm:hierBranch val="l"/>
        </dgm:presLayoutVars>
      </dgm:prSet>
      <dgm:spPr/>
    </dgm:pt>
    <dgm:pt modelId="{EFC54E5C-7C6E-422C-87D3-57DFC09957EE}" type="pres">
      <dgm:prSet presAssocID="{27C0C58C-3A95-4427-952F-34ADD3E4CA9C}" presName="rootComposite" presStyleCnt="0"/>
      <dgm:spPr/>
    </dgm:pt>
    <dgm:pt modelId="{5C9EBB69-F299-433C-9832-400183B089DB}" type="pres">
      <dgm:prSet presAssocID="{27C0C58C-3A95-4427-952F-34ADD3E4CA9C}" presName="rootText" presStyleLbl="node2" presStyleIdx="0" presStyleCnt="5" custScaleX="243614" custScaleY="135785" custLinFactNeighborX="-24990" custLinFactNeighborY="-29859">
        <dgm:presLayoutVars>
          <dgm:chPref val="3"/>
        </dgm:presLayoutVars>
      </dgm:prSet>
      <dgm:spPr/>
      <dgm:t>
        <a:bodyPr/>
        <a:lstStyle/>
        <a:p>
          <a:endParaRPr lang="en-GB"/>
        </a:p>
      </dgm:t>
    </dgm:pt>
    <dgm:pt modelId="{5658B9D7-A9F2-4897-B0C6-17D9C45E1BD9}" type="pres">
      <dgm:prSet presAssocID="{27C0C58C-3A95-4427-952F-34ADD3E4CA9C}" presName="rootConnector" presStyleLbl="node2" presStyleIdx="0" presStyleCnt="5"/>
      <dgm:spPr/>
      <dgm:t>
        <a:bodyPr/>
        <a:lstStyle/>
        <a:p>
          <a:endParaRPr lang="en-GB"/>
        </a:p>
      </dgm:t>
    </dgm:pt>
    <dgm:pt modelId="{3920BFA3-AC5C-4424-ACD7-7E148C18359E}" type="pres">
      <dgm:prSet presAssocID="{27C0C58C-3A95-4427-952F-34ADD3E4CA9C}" presName="hierChild4" presStyleCnt="0"/>
      <dgm:spPr/>
    </dgm:pt>
    <dgm:pt modelId="{72ADB7DE-FFDE-43B9-98C0-716921DBE890}" type="pres">
      <dgm:prSet presAssocID="{F2D49BD6-65DF-42A1-872F-280CCBA4DCCB}" presName="Name50" presStyleLbl="parChTrans1D3" presStyleIdx="0" presStyleCnt="26"/>
      <dgm:spPr/>
      <dgm:t>
        <a:bodyPr/>
        <a:lstStyle/>
        <a:p>
          <a:endParaRPr lang="en-GB"/>
        </a:p>
      </dgm:t>
    </dgm:pt>
    <dgm:pt modelId="{E8072A26-277D-405E-9401-0A1FDF34E5D4}" type="pres">
      <dgm:prSet presAssocID="{9A7E722F-D005-476C-8D43-4076AB9F30B1}" presName="hierRoot2" presStyleCnt="0">
        <dgm:presLayoutVars>
          <dgm:hierBranch val="init"/>
        </dgm:presLayoutVars>
      </dgm:prSet>
      <dgm:spPr/>
    </dgm:pt>
    <dgm:pt modelId="{27EF17A1-D922-409F-996E-C9E02B5875EB}" type="pres">
      <dgm:prSet presAssocID="{9A7E722F-D005-476C-8D43-4076AB9F30B1}" presName="rootComposite" presStyleCnt="0"/>
      <dgm:spPr/>
    </dgm:pt>
    <dgm:pt modelId="{EC6C2DB6-0354-41F7-B81C-792F0FA9A4EE}" type="pres">
      <dgm:prSet presAssocID="{9A7E722F-D005-476C-8D43-4076AB9F30B1}" presName="rootText" presStyleLbl="node3" presStyleIdx="0" presStyleCnt="26" custScaleX="206135" custLinFactNeighborX="9162" custLinFactNeighborY="-60336">
        <dgm:presLayoutVars>
          <dgm:chPref val="3"/>
        </dgm:presLayoutVars>
      </dgm:prSet>
      <dgm:spPr/>
      <dgm:t>
        <a:bodyPr/>
        <a:lstStyle/>
        <a:p>
          <a:endParaRPr lang="en-GB"/>
        </a:p>
      </dgm:t>
    </dgm:pt>
    <dgm:pt modelId="{9F604B41-DE7E-407E-92F7-E7B8863509DE}" type="pres">
      <dgm:prSet presAssocID="{9A7E722F-D005-476C-8D43-4076AB9F30B1}" presName="rootConnector" presStyleLbl="node3" presStyleIdx="0" presStyleCnt="26"/>
      <dgm:spPr/>
      <dgm:t>
        <a:bodyPr/>
        <a:lstStyle/>
        <a:p>
          <a:endParaRPr lang="en-GB"/>
        </a:p>
      </dgm:t>
    </dgm:pt>
    <dgm:pt modelId="{6B1B8A2D-6C96-402C-A168-3E6AD553B535}" type="pres">
      <dgm:prSet presAssocID="{9A7E722F-D005-476C-8D43-4076AB9F30B1}" presName="hierChild4" presStyleCnt="0"/>
      <dgm:spPr/>
    </dgm:pt>
    <dgm:pt modelId="{70FA8FA6-36C6-4FE0-B3C4-A8596AFC4EDF}" type="pres">
      <dgm:prSet presAssocID="{9A7E722F-D005-476C-8D43-4076AB9F30B1}" presName="hierChild5" presStyleCnt="0"/>
      <dgm:spPr/>
    </dgm:pt>
    <dgm:pt modelId="{7AA3C3BF-7366-4C82-8833-2DCCDBBFBA6C}" type="pres">
      <dgm:prSet presAssocID="{A4FDCB02-4C5E-4D69-833B-37E08536214A}" presName="Name50" presStyleLbl="parChTrans1D3" presStyleIdx="1" presStyleCnt="26"/>
      <dgm:spPr/>
      <dgm:t>
        <a:bodyPr/>
        <a:lstStyle/>
        <a:p>
          <a:endParaRPr lang="en-GB"/>
        </a:p>
      </dgm:t>
    </dgm:pt>
    <dgm:pt modelId="{4DB7F4F7-B590-4810-AFCD-926FDA6D38D2}" type="pres">
      <dgm:prSet presAssocID="{A8A7589E-3DC7-45D1-8F72-BB5B052E3F69}" presName="hierRoot2" presStyleCnt="0">
        <dgm:presLayoutVars>
          <dgm:hierBranch val="init"/>
        </dgm:presLayoutVars>
      </dgm:prSet>
      <dgm:spPr/>
    </dgm:pt>
    <dgm:pt modelId="{F997AD31-44BF-407F-82C8-B18CE0D7FD2C}" type="pres">
      <dgm:prSet presAssocID="{A8A7589E-3DC7-45D1-8F72-BB5B052E3F69}" presName="rootComposite" presStyleCnt="0"/>
      <dgm:spPr/>
    </dgm:pt>
    <dgm:pt modelId="{CF73B623-D36E-4A4E-8B66-62BC3E50EC0C}" type="pres">
      <dgm:prSet presAssocID="{A8A7589E-3DC7-45D1-8F72-BB5B052E3F69}" presName="rootText" presStyleLbl="node3" presStyleIdx="1" presStyleCnt="26" custScaleX="206135" custLinFactNeighborX="9162" custLinFactNeighborY="-86839">
        <dgm:presLayoutVars>
          <dgm:chPref val="3"/>
        </dgm:presLayoutVars>
      </dgm:prSet>
      <dgm:spPr/>
      <dgm:t>
        <a:bodyPr/>
        <a:lstStyle/>
        <a:p>
          <a:endParaRPr lang="en-GB"/>
        </a:p>
      </dgm:t>
    </dgm:pt>
    <dgm:pt modelId="{8796C872-A8EA-4958-8B94-1C7ED8D2C1E3}" type="pres">
      <dgm:prSet presAssocID="{A8A7589E-3DC7-45D1-8F72-BB5B052E3F69}" presName="rootConnector" presStyleLbl="node3" presStyleIdx="1" presStyleCnt="26"/>
      <dgm:spPr/>
      <dgm:t>
        <a:bodyPr/>
        <a:lstStyle/>
        <a:p>
          <a:endParaRPr lang="en-GB"/>
        </a:p>
      </dgm:t>
    </dgm:pt>
    <dgm:pt modelId="{8247ED97-294F-4CED-A2D7-172130BF8306}" type="pres">
      <dgm:prSet presAssocID="{A8A7589E-3DC7-45D1-8F72-BB5B052E3F69}" presName="hierChild4" presStyleCnt="0"/>
      <dgm:spPr/>
    </dgm:pt>
    <dgm:pt modelId="{BD0FFB1E-CC85-40D5-9579-426945FCD951}" type="pres">
      <dgm:prSet presAssocID="{A8A7589E-3DC7-45D1-8F72-BB5B052E3F69}" presName="hierChild5" presStyleCnt="0"/>
      <dgm:spPr/>
    </dgm:pt>
    <dgm:pt modelId="{64E373CE-42B0-47C0-B6D5-3083549CC155}" type="pres">
      <dgm:prSet presAssocID="{2536716E-9789-487C-BB4D-6AEC03913F78}" presName="Name50" presStyleLbl="parChTrans1D3" presStyleIdx="2" presStyleCnt="26"/>
      <dgm:spPr/>
      <dgm:t>
        <a:bodyPr/>
        <a:lstStyle/>
        <a:p>
          <a:endParaRPr lang="en-GB"/>
        </a:p>
      </dgm:t>
    </dgm:pt>
    <dgm:pt modelId="{B2DE522B-C279-4F9A-8567-5E139FFF9E79}" type="pres">
      <dgm:prSet presAssocID="{8AFF9318-8DC2-4264-8170-0C61AAFD79FE}" presName="hierRoot2" presStyleCnt="0">
        <dgm:presLayoutVars>
          <dgm:hierBranch val="init"/>
        </dgm:presLayoutVars>
      </dgm:prSet>
      <dgm:spPr/>
    </dgm:pt>
    <dgm:pt modelId="{D9C66C32-12B4-4491-ABA3-34335757DC65}" type="pres">
      <dgm:prSet presAssocID="{8AFF9318-8DC2-4264-8170-0C61AAFD79FE}" presName="rootComposite" presStyleCnt="0"/>
      <dgm:spPr/>
    </dgm:pt>
    <dgm:pt modelId="{C91CBDDB-C61F-488B-86C6-4EEFDF3ED038}" type="pres">
      <dgm:prSet presAssocID="{8AFF9318-8DC2-4264-8170-0C61AAFD79FE}" presName="rootText" presStyleLbl="node3" presStyleIdx="2" presStyleCnt="26" custScaleX="206135" custLinFactY="-12992" custLinFactNeighborX="9162" custLinFactNeighborY="-100000">
        <dgm:presLayoutVars>
          <dgm:chPref val="3"/>
        </dgm:presLayoutVars>
      </dgm:prSet>
      <dgm:spPr/>
      <dgm:t>
        <a:bodyPr/>
        <a:lstStyle/>
        <a:p>
          <a:endParaRPr lang="en-GB"/>
        </a:p>
      </dgm:t>
    </dgm:pt>
    <dgm:pt modelId="{525B76B5-0D3D-477C-878E-708A48609BDE}" type="pres">
      <dgm:prSet presAssocID="{8AFF9318-8DC2-4264-8170-0C61AAFD79FE}" presName="rootConnector" presStyleLbl="node3" presStyleIdx="2" presStyleCnt="26"/>
      <dgm:spPr/>
      <dgm:t>
        <a:bodyPr/>
        <a:lstStyle/>
        <a:p>
          <a:endParaRPr lang="en-GB"/>
        </a:p>
      </dgm:t>
    </dgm:pt>
    <dgm:pt modelId="{1D24CB5B-0B33-42B2-BE9D-B19A07219F23}" type="pres">
      <dgm:prSet presAssocID="{8AFF9318-8DC2-4264-8170-0C61AAFD79FE}" presName="hierChild4" presStyleCnt="0"/>
      <dgm:spPr/>
    </dgm:pt>
    <dgm:pt modelId="{DA442CD6-0426-4B98-A495-C55DA5A51AA4}" type="pres">
      <dgm:prSet presAssocID="{8AFF9318-8DC2-4264-8170-0C61AAFD79FE}" presName="hierChild5" presStyleCnt="0"/>
      <dgm:spPr/>
    </dgm:pt>
    <dgm:pt modelId="{074B3E2F-8466-4A4D-AA59-72F2C06F9895}" type="pres">
      <dgm:prSet presAssocID="{A8EDCBF5-48EE-49F5-8B6F-59FB4A586749}" presName="Name50" presStyleLbl="parChTrans1D3" presStyleIdx="3" presStyleCnt="26"/>
      <dgm:spPr/>
      <dgm:t>
        <a:bodyPr/>
        <a:lstStyle/>
        <a:p>
          <a:endParaRPr lang="en-GB"/>
        </a:p>
      </dgm:t>
    </dgm:pt>
    <dgm:pt modelId="{DF2F653D-344D-4FB8-9BFE-4632037A3E7B}" type="pres">
      <dgm:prSet presAssocID="{1ABE179A-0583-4343-B229-7613337F1F01}" presName="hierRoot2" presStyleCnt="0">
        <dgm:presLayoutVars>
          <dgm:hierBranch val="init"/>
        </dgm:presLayoutVars>
      </dgm:prSet>
      <dgm:spPr/>
    </dgm:pt>
    <dgm:pt modelId="{3B7E9630-24E8-4128-BFD5-188170612569}" type="pres">
      <dgm:prSet presAssocID="{1ABE179A-0583-4343-B229-7613337F1F01}" presName="rootComposite" presStyleCnt="0"/>
      <dgm:spPr/>
    </dgm:pt>
    <dgm:pt modelId="{4F5D1301-39C3-4858-B8EF-E38A066270C0}" type="pres">
      <dgm:prSet presAssocID="{1ABE179A-0583-4343-B229-7613337F1F01}" presName="rootText" presStyleLbl="node3" presStyleIdx="3" presStyleCnt="26" custScaleX="206135" custLinFactY="-39146" custLinFactNeighborX="9162" custLinFactNeighborY="-100000">
        <dgm:presLayoutVars>
          <dgm:chPref val="3"/>
        </dgm:presLayoutVars>
      </dgm:prSet>
      <dgm:spPr/>
      <dgm:t>
        <a:bodyPr/>
        <a:lstStyle/>
        <a:p>
          <a:endParaRPr lang="en-GB"/>
        </a:p>
      </dgm:t>
    </dgm:pt>
    <dgm:pt modelId="{12C49A15-D18B-47B3-9CA0-B40898F9CD50}" type="pres">
      <dgm:prSet presAssocID="{1ABE179A-0583-4343-B229-7613337F1F01}" presName="rootConnector" presStyleLbl="node3" presStyleIdx="3" presStyleCnt="26"/>
      <dgm:spPr/>
      <dgm:t>
        <a:bodyPr/>
        <a:lstStyle/>
        <a:p>
          <a:endParaRPr lang="en-GB"/>
        </a:p>
      </dgm:t>
    </dgm:pt>
    <dgm:pt modelId="{9C37565E-D11F-45BD-B816-20381F060AB1}" type="pres">
      <dgm:prSet presAssocID="{1ABE179A-0583-4343-B229-7613337F1F01}" presName="hierChild4" presStyleCnt="0"/>
      <dgm:spPr/>
    </dgm:pt>
    <dgm:pt modelId="{9C5018E2-8307-4E3E-9044-45319D51FA9F}" type="pres">
      <dgm:prSet presAssocID="{1ABE179A-0583-4343-B229-7613337F1F01}" presName="hierChild5" presStyleCnt="0"/>
      <dgm:spPr/>
    </dgm:pt>
    <dgm:pt modelId="{38F6A058-7E48-4D72-99DA-87A83BD6629F}" type="pres">
      <dgm:prSet presAssocID="{74CFB57A-27E6-492C-AA1E-444AA012A6C4}" presName="Name50" presStyleLbl="parChTrans1D3" presStyleIdx="4" presStyleCnt="26"/>
      <dgm:spPr/>
      <dgm:t>
        <a:bodyPr/>
        <a:lstStyle/>
        <a:p>
          <a:endParaRPr lang="en-GB"/>
        </a:p>
      </dgm:t>
    </dgm:pt>
    <dgm:pt modelId="{D552FDEE-5469-4891-8FDB-8AD5896678B3}" type="pres">
      <dgm:prSet presAssocID="{B3CDC9F2-1FA6-4E0F-8439-B8268D9B8069}" presName="hierRoot2" presStyleCnt="0">
        <dgm:presLayoutVars>
          <dgm:hierBranch val="init"/>
        </dgm:presLayoutVars>
      </dgm:prSet>
      <dgm:spPr/>
    </dgm:pt>
    <dgm:pt modelId="{EF6AA7E8-3D3B-43C8-89E5-4F4F5DFCF6B9}" type="pres">
      <dgm:prSet presAssocID="{B3CDC9F2-1FA6-4E0F-8439-B8268D9B8069}" presName="rootComposite" presStyleCnt="0"/>
      <dgm:spPr/>
    </dgm:pt>
    <dgm:pt modelId="{F2BD23BC-2E0A-441B-BE28-E14725F51793}" type="pres">
      <dgm:prSet presAssocID="{B3CDC9F2-1FA6-4E0F-8439-B8268D9B8069}" presName="rootText" presStyleLbl="node3" presStyleIdx="4" presStyleCnt="26" custScaleX="206135" custScaleY="133975" custLinFactY="-48750" custLinFactNeighborX="9162" custLinFactNeighborY="-100000">
        <dgm:presLayoutVars>
          <dgm:chPref val="3"/>
        </dgm:presLayoutVars>
      </dgm:prSet>
      <dgm:spPr/>
      <dgm:t>
        <a:bodyPr/>
        <a:lstStyle/>
        <a:p>
          <a:endParaRPr lang="en-GB"/>
        </a:p>
      </dgm:t>
    </dgm:pt>
    <dgm:pt modelId="{96311BE1-6806-4936-A91A-7E842B15BE23}" type="pres">
      <dgm:prSet presAssocID="{B3CDC9F2-1FA6-4E0F-8439-B8268D9B8069}" presName="rootConnector" presStyleLbl="node3" presStyleIdx="4" presStyleCnt="26"/>
      <dgm:spPr/>
      <dgm:t>
        <a:bodyPr/>
        <a:lstStyle/>
        <a:p>
          <a:endParaRPr lang="en-GB"/>
        </a:p>
      </dgm:t>
    </dgm:pt>
    <dgm:pt modelId="{EFD1A3F8-F679-4BFE-A96D-BBA1B8F7E28E}" type="pres">
      <dgm:prSet presAssocID="{B3CDC9F2-1FA6-4E0F-8439-B8268D9B8069}" presName="hierChild4" presStyleCnt="0"/>
      <dgm:spPr/>
    </dgm:pt>
    <dgm:pt modelId="{E1434C1B-93F4-4F85-BF3F-2674BA9F6695}" type="pres">
      <dgm:prSet presAssocID="{B3CDC9F2-1FA6-4E0F-8439-B8268D9B8069}" presName="hierChild5" presStyleCnt="0"/>
      <dgm:spPr/>
    </dgm:pt>
    <dgm:pt modelId="{BDA0D309-749C-449A-8DB4-EAF8CCA3E67D}" type="pres">
      <dgm:prSet presAssocID="{85EB6D14-3548-49D4-9B2D-95B6FE3E896E}" presName="Name50" presStyleLbl="parChTrans1D3" presStyleIdx="5" presStyleCnt="26"/>
      <dgm:spPr/>
      <dgm:t>
        <a:bodyPr/>
        <a:lstStyle/>
        <a:p>
          <a:endParaRPr lang="en-GB"/>
        </a:p>
      </dgm:t>
    </dgm:pt>
    <dgm:pt modelId="{887C9540-28D2-46DA-9258-D87AD3C70C71}" type="pres">
      <dgm:prSet presAssocID="{55C81A84-977C-474F-9898-E3299C72446E}" presName="hierRoot2" presStyleCnt="0">
        <dgm:presLayoutVars>
          <dgm:hierBranch val="init"/>
        </dgm:presLayoutVars>
      </dgm:prSet>
      <dgm:spPr/>
    </dgm:pt>
    <dgm:pt modelId="{DB86626F-20CE-47FA-8B7A-1062024CD376}" type="pres">
      <dgm:prSet presAssocID="{55C81A84-977C-474F-9898-E3299C72446E}" presName="rootComposite" presStyleCnt="0"/>
      <dgm:spPr/>
    </dgm:pt>
    <dgm:pt modelId="{B0363488-F9A3-4DD4-BCDF-D8D2C1C53362}" type="pres">
      <dgm:prSet presAssocID="{55C81A84-977C-474F-9898-E3299C72446E}" presName="rootText" presStyleLbl="node3" presStyleIdx="5" presStyleCnt="26" custScaleX="206135" custScaleY="173379" custLinFactY="-74903" custLinFactNeighborX="9162" custLinFactNeighborY="-100000">
        <dgm:presLayoutVars>
          <dgm:chPref val="3"/>
        </dgm:presLayoutVars>
      </dgm:prSet>
      <dgm:spPr/>
      <dgm:t>
        <a:bodyPr/>
        <a:lstStyle/>
        <a:p>
          <a:endParaRPr lang="en-GB"/>
        </a:p>
      </dgm:t>
    </dgm:pt>
    <dgm:pt modelId="{C5765A06-B728-4F1F-BEA5-C8B842B28AB3}" type="pres">
      <dgm:prSet presAssocID="{55C81A84-977C-474F-9898-E3299C72446E}" presName="rootConnector" presStyleLbl="node3" presStyleIdx="5" presStyleCnt="26"/>
      <dgm:spPr/>
      <dgm:t>
        <a:bodyPr/>
        <a:lstStyle/>
        <a:p>
          <a:endParaRPr lang="en-GB"/>
        </a:p>
      </dgm:t>
    </dgm:pt>
    <dgm:pt modelId="{B419F9A7-6256-4C2F-878E-B82AE2CBC9A9}" type="pres">
      <dgm:prSet presAssocID="{55C81A84-977C-474F-9898-E3299C72446E}" presName="hierChild4" presStyleCnt="0"/>
      <dgm:spPr/>
    </dgm:pt>
    <dgm:pt modelId="{141235EF-2547-4156-9A49-E8377A75F5CA}" type="pres">
      <dgm:prSet presAssocID="{55C81A84-977C-474F-9898-E3299C72446E}" presName="hierChild5" presStyleCnt="0"/>
      <dgm:spPr/>
    </dgm:pt>
    <dgm:pt modelId="{110B8CA0-C5B1-4088-832E-968B3904855E}" type="pres">
      <dgm:prSet presAssocID="{27C0C58C-3A95-4427-952F-34ADD3E4CA9C}" presName="hierChild5" presStyleCnt="0"/>
      <dgm:spPr/>
    </dgm:pt>
    <dgm:pt modelId="{A158FBDA-FE80-481D-A683-1087A6297DF7}" type="pres">
      <dgm:prSet presAssocID="{5BCFE927-CDC4-4421-909F-E280F719A3A5}" presName="Name37" presStyleLbl="parChTrans1D2" presStyleIdx="1" presStyleCnt="5"/>
      <dgm:spPr/>
      <dgm:t>
        <a:bodyPr/>
        <a:lstStyle/>
        <a:p>
          <a:endParaRPr lang="en-GB"/>
        </a:p>
      </dgm:t>
    </dgm:pt>
    <dgm:pt modelId="{7B7F4A61-44AD-4660-A004-E01D74CB3993}" type="pres">
      <dgm:prSet presAssocID="{83E65023-33D0-46DA-A1B3-7F0C7C8C046D}" presName="hierRoot2" presStyleCnt="0">
        <dgm:presLayoutVars>
          <dgm:hierBranch val="l"/>
        </dgm:presLayoutVars>
      </dgm:prSet>
      <dgm:spPr/>
    </dgm:pt>
    <dgm:pt modelId="{C1C1659C-40C8-4D06-88CD-8B4E382A7FA3}" type="pres">
      <dgm:prSet presAssocID="{83E65023-33D0-46DA-A1B3-7F0C7C8C046D}" presName="rootComposite" presStyleCnt="0"/>
      <dgm:spPr/>
    </dgm:pt>
    <dgm:pt modelId="{7D987F92-7D35-4143-98F0-7F550C1854D0}" type="pres">
      <dgm:prSet presAssocID="{83E65023-33D0-46DA-A1B3-7F0C7C8C046D}" presName="rootText" presStyleLbl="node2" presStyleIdx="1" presStyleCnt="5" custScaleX="243614" custScaleY="114736" custLinFactNeighborX="-9853" custLinFactNeighborY="-30086">
        <dgm:presLayoutVars>
          <dgm:chPref val="3"/>
        </dgm:presLayoutVars>
      </dgm:prSet>
      <dgm:spPr/>
      <dgm:t>
        <a:bodyPr/>
        <a:lstStyle/>
        <a:p>
          <a:endParaRPr lang="en-GB"/>
        </a:p>
      </dgm:t>
    </dgm:pt>
    <dgm:pt modelId="{00704EBE-B448-41C3-9648-6FB2DE06439D}" type="pres">
      <dgm:prSet presAssocID="{83E65023-33D0-46DA-A1B3-7F0C7C8C046D}" presName="rootConnector" presStyleLbl="node2" presStyleIdx="1" presStyleCnt="5"/>
      <dgm:spPr/>
      <dgm:t>
        <a:bodyPr/>
        <a:lstStyle/>
        <a:p>
          <a:endParaRPr lang="en-GB"/>
        </a:p>
      </dgm:t>
    </dgm:pt>
    <dgm:pt modelId="{7EE343C9-968E-4784-8601-4A7959215DD1}" type="pres">
      <dgm:prSet presAssocID="{83E65023-33D0-46DA-A1B3-7F0C7C8C046D}" presName="hierChild4" presStyleCnt="0"/>
      <dgm:spPr/>
    </dgm:pt>
    <dgm:pt modelId="{3B68F40B-CA34-4933-9B66-DF0F8E5E033E}" type="pres">
      <dgm:prSet presAssocID="{58994A76-1B27-43DF-B02F-100B15B3B104}" presName="Name50" presStyleLbl="parChTrans1D3" presStyleIdx="6" presStyleCnt="26"/>
      <dgm:spPr/>
      <dgm:t>
        <a:bodyPr/>
        <a:lstStyle/>
        <a:p>
          <a:endParaRPr lang="en-GB"/>
        </a:p>
      </dgm:t>
    </dgm:pt>
    <dgm:pt modelId="{F7CE9413-E7B2-4296-AD69-7C35B0B15EF1}" type="pres">
      <dgm:prSet presAssocID="{4D9ED46B-69D1-47A5-8587-425F875E60C9}" presName="hierRoot2" presStyleCnt="0">
        <dgm:presLayoutVars>
          <dgm:hierBranch val="init"/>
        </dgm:presLayoutVars>
      </dgm:prSet>
      <dgm:spPr/>
    </dgm:pt>
    <dgm:pt modelId="{F201A93C-E34C-4B21-9EB3-E70F0FDE64EC}" type="pres">
      <dgm:prSet presAssocID="{4D9ED46B-69D1-47A5-8587-425F875E60C9}" presName="rootComposite" presStyleCnt="0"/>
      <dgm:spPr/>
    </dgm:pt>
    <dgm:pt modelId="{7DE978DE-FDD4-4585-A148-67512926481F}" type="pres">
      <dgm:prSet presAssocID="{4D9ED46B-69D1-47A5-8587-425F875E60C9}" presName="rootText" presStyleLbl="node3" presStyleIdx="6" presStyleCnt="26" custScaleX="216984" custLinFactNeighborX="31589" custLinFactNeighborY="-60336">
        <dgm:presLayoutVars>
          <dgm:chPref val="3"/>
        </dgm:presLayoutVars>
      </dgm:prSet>
      <dgm:spPr/>
      <dgm:t>
        <a:bodyPr/>
        <a:lstStyle/>
        <a:p>
          <a:endParaRPr lang="en-GB"/>
        </a:p>
      </dgm:t>
    </dgm:pt>
    <dgm:pt modelId="{F65783CD-FCF3-4364-BDAE-C6B8F35DE4E5}" type="pres">
      <dgm:prSet presAssocID="{4D9ED46B-69D1-47A5-8587-425F875E60C9}" presName="rootConnector" presStyleLbl="node3" presStyleIdx="6" presStyleCnt="26"/>
      <dgm:spPr/>
      <dgm:t>
        <a:bodyPr/>
        <a:lstStyle/>
        <a:p>
          <a:endParaRPr lang="en-GB"/>
        </a:p>
      </dgm:t>
    </dgm:pt>
    <dgm:pt modelId="{19E12958-8C47-47DF-9D4B-00202CA3AC00}" type="pres">
      <dgm:prSet presAssocID="{4D9ED46B-69D1-47A5-8587-425F875E60C9}" presName="hierChild4" presStyleCnt="0"/>
      <dgm:spPr/>
    </dgm:pt>
    <dgm:pt modelId="{2FB37C22-08BF-421C-BB25-91D5B4FB4B03}" type="pres">
      <dgm:prSet presAssocID="{4D9ED46B-69D1-47A5-8587-425F875E60C9}" presName="hierChild5" presStyleCnt="0"/>
      <dgm:spPr/>
    </dgm:pt>
    <dgm:pt modelId="{8126E7ED-1EFB-4DC7-B93C-A509EDCFECC6}" type="pres">
      <dgm:prSet presAssocID="{1AEE5C21-8809-4BD3-BF4B-96F643A6442C}" presName="Name50" presStyleLbl="parChTrans1D3" presStyleIdx="7" presStyleCnt="26"/>
      <dgm:spPr/>
      <dgm:t>
        <a:bodyPr/>
        <a:lstStyle/>
        <a:p>
          <a:endParaRPr lang="en-GB"/>
        </a:p>
      </dgm:t>
    </dgm:pt>
    <dgm:pt modelId="{879F3A0E-9DF5-4202-BCBA-30E3FCFD090D}" type="pres">
      <dgm:prSet presAssocID="{232AA91C-A830-4893-AB0C-E0B807EEE6B2}" presName="hierRoot2" presStyleCnt="0">
        <dgm:presLayoutVars>
          <dgm:hierBranch val="init"/>
        </dgm:presLayoutVars>
      </dgm:prSet>
      <dgm:spPr/>
    </dgm:pt>
    <dgm:pt modelId="{C7E92987-2404-49FE-AA7F-AA7B9DEEA283}" type="pres">
      <dgm:prSet presAssocID="{232AA91C-A830-4893-AB0C-E0B807EEE6B2}" presName="rootComposite" presStyleCnt="0"/>
      <dgm:spPr/>
    </dgm:pt>
    <dgm:pt modelId="{95060CD5-E72B-43E3-AE00-28ED9DE85B01}" type="pres">
      <dgm:prSet presAssocID="{232AA91C-A830-4893-AB0C-E0B807EEE6B2}" presName="rootText" presStyleLbl="node3" presStyleIdx="7" presStyleCnt="26" custScaleX="216984" custLinFactNeighborX="31589" custLinFactNeighborY="-91859">
        <dgm:presLayoutVars>
          <dgm:chPref val="3"/>
        </dgm:presLayoutVars>
      </dgm:prSet>
      <dgm:spPr/>
      <dgm:t>
        <a:bodyPr/>
        <a:lstStyle/>
        <a:p>
          <a:endParaRPr lang="en-GB"/>
        </a:p>
      </dgm:t>
    </dgm:pt>
    <dgm:pt modelId="{5A19E98F-0F3A-4E09-AB65-E5F1DA066601}" type="pres">
      <dgm:prSet presAssocID="{232AA91C-A830-4893-AB0C-E0B807EEE6B2}" presName="rootConnector" presStyleLbl="node3" presStyleIdx="7" presStyleCnt="26"/>
      <dgm:spPr/>
      <dgm:t>
        <a:bodyPr/>
        <a:lstStyle/>
        <a:p>
          <a:endParaRPr lang="en-GB"/>
        </a:p>
      </dgm:t>
    </dgm:pt>
    <dgm:pt modelId="{17E28009-57BA-4F44-B413-B50AF86DD419}" type="pres">
      <dgm:prSet presAssocID="{232AA91C-A830-4893-AB0C-E0B807EEE6B2}" presName="hierChild4" presStyleCnt="0"/>
      <dgm:spPr/>
    </dgm:pt>
    <dgm:pt modelId="{6D691161-BE38-4537-8B7B-09BD6D376C0F}" type="pres">
      <dgm:prSet presAssocID="{232AA91C-A830-4893-AB0C-E0B807EEE6B2}" presName="hierChild5" presStyleCnt="0"/>
      <dgm:spPr/>
    </dgm:pt>
    <dgm:pt modelId="{D20E2316-F1C9-4B58-809C-37D7B49498A8}" type="pres">
      <dgm:prSet presAssocID="{39A6586C-73CD-4D64-A1FA-DFF0D99B7D4E}" presName="Name50" presStyleLbl="parChTrans1D3" presStyleIdx="8" presStyleCnt="26"/>
      <dgm:spPr/>
      <dgm:t>
        <a:bodyPr/>
        <a:lstStyle/>
        <a:p>
          <a:endParaRPr lang="en-GB"/>
        </a:p>
      </dgm:t>
    </dgm:pt>
    <dgm:pt modelId="{FC97199B-5D92-4071-9C5C-7DDAEDABF62E}" type="pres">
      <dgm:prSet presAssocID="{70510394-ADAF-4017-9A71-0CDBF70C8053}" presName="hierRoot2" presStyleCnt="0">
        <dgm:presLayoutVars>
          <dgm:hierBranch val="init"/>
        </dgm:presLayoutVars>
      </dgm:prSet>
      <dgm:spPr/>
    </dgm:pt>
    <dgm:pt modelId="{C27AE854-62A4-43C0-B47B-0A4521318F22}" type="pres">
      <dgm:prSet presAssocID="{70510394-ADAF-4017-9A71-0CDBF70C8053}" presName="rootComposite" presStyleCnt="0"/>
      <dgm:spPr/>
    </dgm:pt>
    <dgm:pt modelId="{175ADE88-AD71-4BAF-A40D-557E80A72AF6}" type="pres">
      <dgm:prSet presAssocID="{70510394-ADAF-4017-9A71-0CDBF70C8053}" presName="rootText" presStyleLbl="node3" presStyleIdx="8" presStyleCnt="26" custScaleX="216984" custLinFactY="-16102" custLinFactNeighborX="31589" custLinFactNeighborY="-100000">
        <dgm:presLayoutVars>
          <dgm:chPref val="3"/>
        </dgm:presLayoutVars>
      </dgm:prSet>
      <dgm:spPr/>
      <dgm:t>
        <a:bodyPr/>
        <a:lstStyle/>
        <a:p>
          <a:endParaRPr lang="en-GB"/>
        </a:p>
      </dgm:t>
    </dgm:pt>
    <dgm:pt modelId="{1FF9E9F1-4FED-413C-B9FB-C759F942D31F}" type="pres">
      <dgm:prSet presAssocID="{70510394-ADAF-4017-9A71-0CDBF70C8053}" presName="rootConnector" presStyleLbl="node3" presStyleIdx="8" presStyleCnt="26"/>
      <dgm:spPr/>
      <dgm:t>
        <a:bodyPr/>
        <a:lstStyle/>
        <a:p>
          <a:endParaRPr lang="en-GB"/>
        </a:p>
      </dgm:t>
    </dgm:pt>
    <dgm:pt modelId="{DC1C3B73-61A4-43AA-B6BF-592C31ECA3AF}" type="pres">
      <dgm:prSet presAssocID="{70510394-ADAF-4017-9A71-0CDBF70C8053}" presName="hierChild4" presStyleCnt="0"/>
      <dgm:spPr/>
    </dgm:pt>
    <dgm:pt modelId="{2F56F056-C10F-42B0-BF5E-CED793AD7759}" type="pres">
      <dgm:prSet presAssocID="{70510394-ADAF-4017-9A71-0CDBF70C8053}" presName="hierChild5" presStyleCnt="0"/>
      <dgm:spPr/>
    </dgm:pt>
    <dgm:pt modelId="{3C19CDE8-1619-435F-BE8B-2AB153E85879}" type="pres">
      <dgm:prSet presAssocID="{CCCD879D-0878-4276-BBBF-ED7DC058AD7B}" presName="Name50" presStyleLbl="parChTrans1D3" presStyleIdx="9" presStyleCnt="26"/>
      <dgm:spPr/>
      <dgm:t>
        <a:bodyPr/>
        <a:lstStyle/>
        <a:p>
          <a:endParaRPr lang="en-GB"/>
        </a:p>
      </dgm:t>
    </dgm:pt>
    <dgm:pt modelId="{9360F5D3-E8C2-4C55-9A2E-A0CE2572DDDC}" type="pres">
      <dgm:prSet presAssocID="{DCA969C6-173D-4A46-9BA4-5119AF64DB64}" presName="hierRoot2" presStyleCnt="0">
        <dgm:presLayoutVars>
          <dgm:hierBranch val="init"/>
        </dgm:presLayoutVars>
      </dgm:prSet>
      <dgm:spPr/>
    </dgm:pt>
    <dgm:pt modelId="{607D9AFC-CE42-42A1-9EB1-36930BE02CD5}" type="pres">
      <dgm:prSet presAssocID="{DCA969C6-173D-4A46-9BA4-5119AF64DB64}" presName="rootComposite" presStyleCnt="0"/>
      <dgm:spPr/>
    </dgm:pt>
    <dgm:pt modelId="{356B3328-D764-40AC-8224-7C581170E4AA}" type="pres">
      <dgm:prSet presAssocID="{DCA969C6-173D-4A46-9BA4-5119AF64DB64}" presName="rootText" presStyleLbl="node3" presStyleIdx="9" presStyleCnt="26" custScaleX="216984" custLinFactY="-40069" custLinFactNeighborX="31646" custLinFactNeighborY="-100000">
        <dgm:presLayoutVars>
          <dgm:chPref val="3"/>
        </dgm:presLayoutVars>
      </dgm:prSet>
      <dgm:spPr/>
      <dgm:t>
        <a:bodyPr/>
        <a:lstStyle/>
        <a:p>
          <a:endParaRPr lang="en-GB"/>
        </a:p>
      </dgm:t>
    </dgm:pt>
    <dgm:pt modelId="{E93C2A34-A97C-4508-A88F-51D5DA31D8C2}" type="pres">
      <dgm:prSet presAssocID="{DCA969C6-173D-4A46-9BA4-5119AF64DB64}" presName="rootConnector" presStyleLbl="node3" presStyleIdx="9" presStyleCnt="26"/>
      <dgm:spPr/>
      <dgm:t>
        <a:bodyPr/>
        <a:lstStyle/>
        <a:p>
          <a:endParaRPr lang="en-GB"/>
        </a:p>
      </dgm:t>
    </dgm:pt>
    <dgm:pt modelId="{7BA60B2C-7189-41FF-BFB8-C7874E6AC2DB}" type="pres">
      <dgm:prSet presAssocID="{DCA969C6-173D-4A46-9BA4-5119AF64DB64}" presName="hierChild4" presStyleCnt="0"/>
      <dgm:spPr/>
    </dgm:pt>
    <dgm:pt modelId="{27D8EEAD-18A0-4425-A8E3-D7D26180ED33}" type="pres">
      <dgm:prSet presAssocID="{DCA969C6-173D-4A46-9BA4-5119AF64DB64}" presName="hierChild5" presStyleCnt="0"/>
      <dgm:spPr/>
    </dgm:pt>
    <dgm:pt modelId="{BA812832-9151-4475-AEEE-997AAEA180DD}" type="pres">
      <dgm:prSet presAssocID="{60A8C610-33C6-4C13-A76B-645F44A3B723}" presName="Name50" presStyleLbl="parChTrans1D3" presStyleIdx="10" presStyleCnt="26"/>
      <dgm:spPr/>
      <dgm:t>
        <a:bodyPr/>
        <a:lstStyle/>
        <a:p>
          <a:endParaRPr lang="en-GB"/>
        </a:p>
      </dgm:t>
    </dgm:pt>
    <dgm:pt modelId="{E9DD63BF-38AB-44F1-B73B-18EC62469DAE}" type="pres">
      <dgm:prSet presAssocID="{4CC3869D-EA05-4F15-ABEF-E876B4DF3A97}" presName="hierRoot2" presStyleCnt="0">
        <dgm:presLayoutVars>
          <dgm:hierBranch val="init"/>
        </dgm:presLayoutVars>
      </dgm:prSet>
      <dgm:spPr/>
    </dgm:pt>
    <dgm:pt modelId="{605226FA-7527-47A1-8279-238BCC889804}" type="pres">
      <dgm:prSet presAssocID="{4CC3869D-EA05-4F15-ABEF-E876B4DF3A97}" presName="rootComposite" presStyleCnt="0"/>
      <dgm:spPr/>
    </dgm:pt>
    <dgm:pt modelId="{0E5ADF65-7528-4E6B-A814-7FD4CDCBAEB0}" type="pres">
      <dgm:prSet presAssocID="{4CC3869D-EA05-4F15-ABEF-E876B4DF3A97}" presName="rootText" presStyleLbl="node3" presStyleIdx="10" presStyleCnt="26" custScaleX="216984" custLinFactY="-64998" custLinFactNeighborX="31646" custLinFactNeighborY="-100000">
        <dgm:presLayoutVars>
          <dgm:chPref val="3"/>
        </dgm:presLayoutVars>
      </dgm:prSet>
      <dgm:spPr/>
      <dgm:t>
        <a:bodyPr/>
        <a:lstStyle/>
        <a:p>
          <a:endParaRPr lang="en-GB"/>
        </a:p>
      </dgm:t>
    </dgm:pt>
    <dgm:pt modelId="{C08C8186-7CE9-48AE-B41B-D881FD3C4D87}" type="pres">
      <dgm:prSet presAssocID="{4CC3869D-EA05-4F15-ABEF-E876B4DF3A97}" presName="rootConnector" presStyleLbl="node3" presStyleIdx="10" presStyleCnt="26"/>
      <dgm:spPr/>
      <dgm:t>
        <a:bodyPr/>
        <a:lstStyle/>
        <a:p>
          <a:endParaRPr lang="en-GB"/>
        </a:p>
      </dgm:t>
    </dgm:pt>
    <dgm:pt modelId="{E6017F6A-7607-44AA-9473-D5CDBDEDB0C7}" type="pres">
      <dgm:prSet presAssocID="{4CC3869D-EA05-4F15-ABEF-E876B4DF3A97}" presName="hierChild4" presStyleCnt="0"/>
      <dgm:spPr/>
    </dgm:pt>
    <dgm:pt modelId="{306A7944-FDCE-4D0C-AD95-EC9B74B2C481}" type="pres">
      <dgm:prSet presAssocID="{4CC3869D-EA05-4F15-ABEF-E876B4DF3A97}" presName="hierChild5" presStyleCnt="0"/>
      <dgm:spPr/>
    </dgm:pt>
    <dgm:pt modelId="{15BFC48D-BBC2-4AA7-84DF-E08D387E4BEE}" type="pres">
      <dgm:prSet presAssocID="{B9768B53-8850-4D94-B15A-B424BE92EB7A}" presName="Name50" presStyleLbl="parChTrans1D3" presStyleIdx="11" presStyleCnt="26"/>
      <dgm:spPr/>
      <dgm:t>
        <a:bodyPr/>
        <a:lstStyle/>
        <a:p>
          <a:endParaRPr lang="en-GB"/>
        </a:p>
      </dgm:t>
    </dgm:pt>
    <dgm:pt modelId="{F23DC6A7-5F16-4E38-86B1-CAA6CCFFD663}" type="pres">
      <dgm:prSet presAssocID="{4A273B54-5675-4A36-BC30-269F184B394E}" presName="hierRoot2" presStyleCnt="0">
        <dgm:presLayoutVars>
          <dgm:hierBranch val="init"/>
        </dgm:presLayoutVars>
      </dgm:prSet>
      <dgm:spPr/>
    </dgm:pt>
    <dgm:pt modelId="{C7979B17-2652-45CB-BA3C-E7D7C2DAE869}" type="pres">
      <dgm:prSet presAssocID="{4A273B54-5675-4A36-BC30-269F184B394E}" presName="rootComposite" presStyleCnt="0"/>
      <dgm:spPr/>
    </dgm:pt>
    <dgm:pt modelId="{F0F62E1F-8929-43B7-BB6A-F1C6E74066B2}" type="pres">
      <dgm:prSet presAssocID="{4A273B54-5675-4A36-BC30-269F184B394E}" presName="rootText" presStyleLbl="node3" presStyleIdx="11" presStyleCnt="26" custScaleX="216984" custLinFactY="-89928" custLinFactNeighborX="31646" custLinFactNeighborY="-100000">
        <dgm:presLayoutVars>
          <dgm:chPref val="3"/>
        </dgm:presLayoutVars>
      </dgm:prSet>
      <dgm:spPr/>
      <dgm:t>
        <a:bodyPr/>
        <a:lstStyle/>
        <a:p>
          <a:endParaRPr lang="en-GB"/>
        </a:p>
      </dgm:t>
    </dgm:pt>
    <dgm:pt modelId="{B2119018-1591-4A2B-916A-EAC928437B99}" type="pres">
      <dgm:prSet presAssocID="{4A273B54-5675-4A36-BC30-269F184B394E}" presName="rootConnector" presStyleLbl="node3" presStyleIdx="11" presStyleCnt="26"/>
      <dgm:spPr/>
      <dgm:t>
        <a:bodyPr/>
        <a:lstStyle/>
        <a:p>
          <a:endParaRPr lang="en-GB"/>
        </a:p>
      </dgm:t>
    </dgm:pt>
    <dgm:pt modelId="{986859C5-59D9-4CAA-95D8-8C726C6A14CD}" type="pres">
      <dgm:prSet presAssocID="{4A273B54-5675-4A36-BC30-269F184B394E}" presName="hierChild4" presStyleCnt="0"/>
      <dgm:spPr/>
    </dgm:pt>
    <dgm:pt modelId="{70C682E1-4958-4E6D-8D51-7120235B17E3}" type="pres">
      <dgm:prSet presAssocID="{4A273B54-5675-4A36-BC30-269F184B394E}" presName="hierChild5" presStyleCnt="0"/>
      <dgm:spPr/>
    </dgm:pt>
    <dgm:pt modelId="{D0A2B68C-81AE-484B-AA25-5AD1DD9964D7}" type="pres">
      <dgm:prSet presAssocID="{88907CE6-6462-4C5F-8943-6C7E5D76B19C}" presName="Name50" presStyleLbl="parChTrans1D3" presStyleIdx="12" presStyleCnt="26"/>
      <dgm:spPr/>
      <dgm:t>
        <a:bodyPr/>
        <a:lstStyle/>
        <a:p>
          <a:endParaRPr lang="en-GB"/>
        </a:p>
      </dgm:t>
    </dgm:pt>
    <dgm:pt modelId="{BCDE0529-E1B6-4338-9B92-2E52C2823B7C}" type="pres">
      <dgm:prSet presAssocID="{1E3C57A8-D11A-4464-B252-393BA62CA1A4}" presName="hierRoot2" presStyleCnt="0">
        <dgm:presLayoutVars>
          <dgm:hierBranch val="init"/>
        </dgm:presLayoutVars>
      </dgm:prSet>
      <dgm:spPr/>
    </dgm:pt>
    <dgm:pt modelId="{C54585F7-6C6B-40B1-81E8-9C201F432ACA}" type="pres">
      <dgm:prSet presAssocID="{1E3C57A8-D11A-4464-B252-393BA62CA1A4}" presName="rootComposite" presStyleCnt="0"/>
      <dgm:spPr/>
    </dgm:pt>
    <dgm:pt modelId="{3AE77575-B618-4540-A5D3-713314C05524}" type="pres">
      <dgm:prSet presAssocID="{1E3C57A8-D11A-4464-B252-393BA62CA1A4}" presName="rootText" presStyleLbl="node3" presStyleIdx="12" presStyleCnt="26" custScaleX="216984" custLinFactY="-100000" custLinFactNeighborX="35603" custLinFactNeighborY="-115819">
        <dgm:presLayoutVars>
          <dgm:chPref val="3"/>
        </dgm:presLayoutVars>
      </dgm:prSet>
      <dgm:spPr/>
      <dgm:t>
        <a:bodyPr/>
        <a:lstStyle/>
        <a:p>
          <a:endParaRPr lang="en-GB"/>
        </a:p>
      </dgm:t>
    </dgm:pt>
    <dgm:pt modelId="{0A7ECC2D-925A-4A5A-983B-44AA6F0DAF1D}" type="pres">
      <dgm:prSet presAssocID="{1E3C57A8-D11A-4464-B252-393BA62CA1A4}" presName="rootConnector" presStyleLbl="node3" presStyleIdx="12" presStyleCnt="26"/>
      <dgm:spPr/>
      <dgm:t>
        <a:bodyPr/>
        <a:lstStyle/>
        <a:p>
          <a:endParaRPr lang="en-GB"/>
        </a:p>
      </dgm:t>
    </dgm:pt>
    <dgm:pt modelId="{747F2C99-3DF1-4AC3-810F-11A9F9C64CC1}" type="pres">
      <dgm:prSet presAssocID="{1E3C57A8-D11A-4464-B252-393BA62CA1A4}" presName="hierChild4" presStyleCnt="0"/>
      <dgm:spPr/>
    </dgm:pt>
    <dgm:pt modelId="{D8DEE09F-9284-4300-A08E-19A45A7D509D}" type="pres">
      <dgm:prSet presAssocID="{1E3C57A8-D11A-4464-B252-393BA62CA1A4}" presName="hierChild5" presStyleCnt="0"/>
      <dgm:spPr/>
    </dgm:pt>
    <dgm:pt modelId="{2A2C7B99-30D3-4786-A061-FD5978DD9CE9}" type="pres">
      <dgm:prSet presAssocID="{83E65023-33D0-46DA-A1B3-7F0C7C8C046D}" presName="hierChild5" presStyleCnt="0"/>
      <dgm:spPr/>
    </dgm:pt>
    <dgm:pt modelId="{D0B2D542-C665-4A27-AB65-BE2D43E07D73}" type="pres">
      <dgm:prSet presAssocID="{3CFDB6E9-11D5-4EF0-A84F-588AF277B995}" presName="Name37" presStyleLbl="parChTrans1D2" presStyleIdx="2" presStyleCnt="5"/>
      <dgm:spPr/>
      <dgm:t>
        <a:bodyPr/>
        <a:lstStyle/>
        <a:p>
          <a:endParaRPr lang="en-GB"/>
        </a:p>
      </dgm:t>
    </dgm:pt>
    <dgm:pt modelId="{D6D62EFD-97F2-4BA7-AB1A-C8F3824F81AD}" type="pres">
      <dgm:prSet presAssocID="{E9AADBDC-3898-4643-98BB-93A35F6F1C1F}" presName="hierRoot2" presStyleCnt="0">
        <dgm:presLayoutVars>
          <dgm:hierBranch val="init"/>
        </dgm:presLayoutVars>
      </dgm:prSet>
      <dgm:spPr/>
    </dgm:pt>
    <dgm:pt modelId="{A2F2327A-4FFD-42A9-BB8F-40200C5D7625}" type="pres">
      <dgm:prSet presAssocID="{E9AADBDC-3898-4643-98BB-93A35F6F1C1F}" presName="rootComposite" presStyleCnt="0"/>
      <dgm:spPr/>
    </dgm:pt>
    <dgm:pt modelId="{20A39BFD-AC94-4833-AAAF-948F81E52002}" type="pres">
      <dgm:prSet presAssocID="{E9AADBDC-3898-4643-98BB-93A35F6F1C1F}" presName="rootText" presStyleLbl="node2" presStyleIdx="2" presStyleCnt="5" custScaleX="243614" custScaleY="122385" custLinFactNeighborX="-7459" custLinFactNeighborY="-30086">
        <dgm:presLayoutVars>
          <dgm:chPref val="3"/>
        </dgm:presLayoutVars>
      </dgm:prSet>
      <dgm:spPr/>
      <dgm:t>
        <a:bodyPr/>
        <a:lstStyle/>
        <a:p>
          <a:endParaRPr lang="en-GB"/>
        </a:p>
      </dgm:t>
    </dgm:pt>
    <dgm:pt modelId="{0A4B7152-A5C0-4304-B702-BC0C52C9EC39}" type="pres">
      <dgm:prSet presAssocID="{E9AADBDC-3898-4643-98BB-93A35F6F1C1F}" presName="rootConnector" presStyleLbl="node2" presStyleIdx="2" presStyleCnt="5"/>
      <dgm:spPr/>
      <dgm:t>
        <a:bodyPr/>
        <a:lstStyle/>
        <a:p>
          <a:endParaRPr lang="en-GB"/>
        </a:p>
      </dgm:t>
    </dgm:pt>
    <dgm:pt modelId="{6923F2DB-CFA1-43DA-B776-2F8B671228D5}" type="pres">
      <dgm:prSet presAssocID="{E9AADBDC-3898-4643-98BB-93A35F6F1C1F}" presName="hierChild4" presStyleCnt="0"/>
      <dgm:spPr/>
    </dgm:pt>
    <dgm:pt modelId="{9233F8A3-3DD8-405A-B709-2177E2199FEB}" type="pres">
      <dgm:prSet presAssocID="{3434C784-D2EB-4907-A577-1424C17A4231}" presName="Name37" presStyleLbl="parChTrans1D3" presStyleIdx="13" presStyleCnt="26"/>
      <dgm:spPr/>
      <dgm:t>
        <a:bodyPr/>
        <a:lstStyle/>
        <a:p>
          <a:endParaRPr lang="en-GB"/>
        </a:p>
      </dgm:t>
    </dgm:pt>
    <dgm:pt modelId="{0B51C77E-E536-48AA-9BF2-E5CB156A28CD}" type="pres">
      <dgm:prSet presAssocID="{25DBDE9B-DA2B-4E29-B989-575DA86021B8}" presName="hierRoot2" presStyleCnt="0">
        <dgm:presLayoutVars>
          <dgm:hierBranch val="init"/>
        </dgm:presLayoutVars>
      </dgm:prSet>
      <dgm:spPr/>
    </dgm:pt>
    <dgm:pt modelId="{AB22C40B-D3AF-4475-9672-4D9A2F57941C}" type="pres">
      <dgm:prSet presAssocID="{25DBDE9B-DA2B-4E29-B989-575DA86021B8}" presName="rootComposite" presStyleCnt="0"/>
      <dgm:spPr/>
    </dgm:pt>
    <dgm:pt modelId="{F0663EE5-7143-42B2-A6AE-F82AA7D88908}" type="pres">
      <dgm:prSet presAssocID="{25DBDE9B-DA2B-4E29-B989-575DA86021B8}" presName="rootText" presStyleLbl="node3" presStyleIdx="13" presStyleCnt="26" custScaleX="224874" custScaleY="149736" custLinFactNeighborX="-52932" custLinFactNeighborY="-52203">
        <dgm:presLayoutVars>
          <dgm:chPref val="3"/>
        </dgm:presLayoutVars>
      </dgm:prSet>
      <dgm:spPr/>
      <dgm:t>
        <a:bodyPr/>
        <a:lstStyle/>
        <a:p>
          <a:endParaRPr lang="en-GB"/>
        </a:p>
      </dgm:t>
    </dgm:pt>
    <dgm:pt modelId="{AE4351CA-69DC-4BA0-AB6C-9CE1DF3BD1D6}" type="pres">
      <dgm:prSet presAssocID="{25DBDE9B-DA2B-4E29-B989-575DA86021B8}" presName="rootConnector" presStyleLbl="node3" presStyleIdx="13" presStyleCnt="26"/>
      <dgm:spPr/>
      <dgm:t>
        <a:bodyPr/>
        <a:lstStyle/>
        <a:p>
          <a:endParaRPr lang="en-GB"/>
        </a:p>
      </dgm:t>
    </dgm:pt>
    <dgm:pt modelId="{35179876-1C2A-4A17-9895-CFA1E81D445B}" type="pres">
      <dgm:prSet presAssocID="{25DBDE9B-DA2B-4E29-B989-575DA86021B8}" presName="hierChild4" presStyleCnt="0"/>
      <dgm:spPr/>
    </dgm:pt>
    <dgm:pt modelId="{E3DAD0CB-79FA-4AA7-979E-EFEEE2D28862}" type="pres">
      <dgm:prSet presAssocID="{25DBDE9B-DA2B-4E29-B989-575DA86021B8}" presName="hierChild5" presStyleCnt="0"/>
      <dgm:spPr/>
    </dgm:pt>
    <dgm:pt modelId="{4292BEEF-ED59-4044-B99B-DC4347476C93}" type="pres">
      <dgm:prSet presAssocID="{EB2D0AFA-7107-4A7F-B30A-85794C6D48A5}" presName="Name37" presStyleLbl="parChTrans1D3" presStyleIdx="14" presStyleCnt="26"/>
      <dgm:spPr/>
      <dgm:t>
        <a:bodyPr/>
        <a:lstStyle/>
        <a:p>
          <a:endParaRPr lang="en-GB"/>
        </a:p>
      </dgm:t>
    </dgm:pt>
    <dgm:pt modelId="{EB1E0698-2238-417E-B4CC-925D422ADFD9}" type="pres">
      <dgm:prSet presAssocID="{36F930DE-36A9-4BBF-B0E6-9FDFEF9E53E4}" presName="hierRoot2" presStyleCnt="0">
        <dgm:presLayoutVars>
          <dgm:hierBranch val="init"/>
        </dgm:presLayoutVars>
      </dgm:prSet>
      <dgm:spPr/>
    </dgm:pt>
    <dgm:pt modelId="{D7895E98-490F-4AA4-8255-363F85B08485}" type="pres">
      <dgm:prSet presAssocID="{36F930DE-36A9-4BBF-B0E6-9FDFEF9E53E4}" presName="rootComposite" presStyleCnt="0"/>
      <dgm:spPr/>
    </dgm:pt>
    <dgm:pt modelId="{679AFEB9-1304-4C46-92B9-D14908334993}" type="pres">
      <dgm:prSet presAssocID="{36F930DE-36A9-4BBF-B0E6-9FDFEF9E53E4}" presName="rootText" presStyleLbl="node3" presStyleIdx="14" presStyleCnt="26" custScaleX="224874" custScaleY="141856" custLinFactNeighborX="-51062" custLinFactNeighborY="-70238">
        <dgm:presLayoutVars>
          <dgm:chPref val="3"/>
        </dgm:presLayoutVars>
      </dgm:prSet>
      <dgm:spPr/>
      <dgm:t>
        <a:bodyPr/>
        <a:lstStyle/>
        <a:p>
          <a:endParaRPr lang="en-GB"/>
        </a:p>
      </dgm:t>
    </dgm:pt>
    <dgm:pt modelId="{AD7D63B9-7467-4870-AB99-425C675F3C72}" type="pres">
      <dgm:prSet presAssocID="{36F930DE-36A9-4BBF-B0E6-9FDFEF9E53E4}" presName="rootConnector" presStyleLbl="node3" presStyleIdx="14" presStyleCnt="26"/>
      <dgm:spPr/>
      <dgm:t>
        <a:bodyPr/>
        <a:lstStyle/>
        <a:p>
          <a:endParaRPr lang="en-GB"/>
        </a:p>
      </dgm:t>
    </dgm:pt>
    <dgm:pt modelId="{977126EB-F25D-4C49-B98B-B68E1BD0D4BB}" type="pres">
      <dgm:prSet presAssocID="{36F930DE-36A9-4BBF-B0E6-9FDFEF9E53E4}" presName="hierChild4" presStyleCnt="0"/>
      <dgm:spPr/>
    </dgm:pt>
    <dgm:pt modelId="{B2673B5A-D20B-433C-B67A-77654BAC3B88}" type="pres">
      <dgm:prSet presAssocID="{36F930DE-36A9-4BBF-B0E6-9FDFEF9E53E4}" presName="hierChild5" presStyleCnt="0"/>
      <dgm:spPr/>
    </dgm:pt>
    <dgm:pt modelId="{B023BEAD-FFE1-4FE2-87DF-FBE8E5BE29A9}" type="pres">
      <dgm:prSet presAssocID="{85F876EE-37BA-45E8-8766-D372D6B5A6B4}" presName="Name37" presStyleLbl="parChTrans1D3" presStyleIdx="15" presStyleCnt="26"/>
      <dgm:spPr/>
      <dgm:t>
        <a:bodyPr/>
        <a:lstStyle/>
        <a:p>
          <a:endParaRPr lang="en-GB"/>
        </a:p>
      </dgm:t>
    </dgm:pt>
    <dgm:pt modelId="{5476372D-2150-433E-B2AE-6BA5A6E9F1A9}" type="pres">
      <dgm:prSet presAssocID="{F29A0D9E-A4D4-4086-BF87-078907F654D3}" presName="hierRoot2" presStyleCnt="0">
        <dgm:presLayoutVars>
          <dgm:hierBranch val="init"/>
        </dgm:presLayoutVars>
      </dgm:prSet>
      <dgm:spPr/>
    </dgm:pt>
    <dgm:pt modelId="{22333E98-19CF-433C-9D01-F001398BCC8F}" type="pres">
      <dgm:prSet presAssocID="{F29A0D9E-A4D4-4086-BF87-078907F654D3}" presName="rootComposite" presStyleCnt="0"/>
      <dgm:spPr/>
    </dgm:pt>
    <dgm:pt modelId="{F47BE956-BC37-4E68-8509-835266EF4509}" type="pres">
      <dgm:prSet presAssocID="{F29A0D9E-A4D4-4086-BF87-078907F654D3}" presName="rootText" presStyleLbl="node3" presStyleIdx="15" presStyleCnt="26" custScaleX="224874" custScaleY="142026" custLinFactNeighborX="-52010" custLinFactNeighborY="-96364">
        <dgm:presLayoutVars>
          <dgm:chPref val="3"/>
        </dgm:presLayoutVars>
      </dgm:prSet>
      <dgm:spPr/>
      <dgm:t>
        <a:bodyPr/>
        <a:lstStyle/>
        <a:p>
          <a:endParaRPr lang="en-GB"/>
        </a:p>
      </dgm:t>
    </dgm:pt>
    <dgm:pt modelId="{0061E253-07A5-4060-9D9C-063107019FC0}" type="pres">
      <dgm:prSet presAssocID="{F29A0D9E-A4D4-4086-BF87-078907F654D3}" presName="rootConnector" presStyleLbl="node3" presStyleIdx="15" presStyleCnt="26"/>
      <dgm:spPr/>
      <dgm:t>
        <a:bodyPr/>
        <a:lstStyle/>
        <a:p>
          <a:endParaRPr lang="en-GB"/>
        </a:p>
      </dgm:t>
    </dgm:pt>
    <dgm:pt modelId="{6A6FBDEC-98AE-4464-802A-117EA88E3B82}" type="pres">
      <dgm:prSet presAssocID="{F29A0D9E-A4D4-4086-BF87-078907F654D3}" presName="hierChild4" presStyleCnt="0"/>
      <dgm:spPr/>
    </dgm:pt>
    <dgm:pt modelId="{EAFC9707-615E-4A38-811E-4449FC86631C}" type="pres">
      <dgm:prSet presAssocID="{F29A0D9E-A4D4-4086-BF87-078907F654D3}" presName="hierChild5" presStyleCnt="0"/>
      <dgm:spPr/>
    </dgm:pt>
    <dgm:pt modelId="{909A163B-528C-4467-82CA-CD38902FAE5A}" type="pres">
      <dgm:prSet presAssocID="{E9AADBDC-3898-4643-98BB-93A35F6F1C1F}" presName="hierChild5" presStyleCnt="0"/>
      <dgm:spPr/>
    </dgm:pt>
    <dgm:pt modelId="{D08577E6-9F61-4368-8C6C-6BFE825C8CCF}" type="pres">
      <dgm:prSet presAssocID="{205FFF2B-3A41-4A88-A3BE-31B22C2574A7}" presName="Name37" presStyleLbl="parChTrans1D2" presStyleIdx="3" presStyleCnt="5"/>
      <dgm:spPr/>
      <dgm:t>
        <a:bodyPr/>
        <a:lstStyle/>
        <a:p>
          <a:endParaRPr lang="en-GB"/>
        </a:p>
      </dgm:t>
    </dgm:pt>
    <dgm:pt modelId="{83DAE4F7-D3DA-498F-A827-D7EA16288892}" type="pres">
      <dgm:prSet presAssocID="{B8408C07-B965-420B-AA4F-EF7BF3626137}" presName="hierRoot2" presStyleCnt="0">
        <dgm:presLayoutVars>
          <dgm:hierBranch val="init"/>
        </dgm:presLayoutVars>
      </dgm:prSet>
      <dgm:spPr/>
    </dgm:pt>
    <dgm:pt modelId="{BB502853-2436-4E23-A179-9E0EE716BF8C}" type="pres">
      <dgm:prSet presAssocID="{B8408C07-B965-420B-AA4F-EF7BF3626137}" presName="rootComposite" presStyleCnt="0"/>
      <dgm:spPr/>
    </dgm:pt>
    <dgm:pt modelId="{82EB6CB6-BC4E-4D4C-A10D-B3680BF7A7D2}" type="pres">
      <dgm:prSet presAssocID="{B8408C07-B965-420B-AA4F-EF7BF3626137}" presName="rootText" presStyleLbl="node2" presStyleIdx="3" presStyleCnt="5" custScaleX="243614" custScaleY="152981" custLinFactNeighborX="4653" custLinFactNeighborY="-29859">
        <dgm:presLayoutVars>
          <dgm:chPref val="3"/>
        </dgm:presLayoutVars>
      </dgm:prSet>
      <dgm:spPr/>
      <dgm:t>
        <a:bodyPr/>
        <a:lstStyle/>
        <a:p>
          <a:endParaRPr lang="en-GB"/>
        </a:p>
      </dgm:t>
    </dgm:pt>
    <dgm:pt modelId="{3529AC6F-214E-4BA5-9ABF-2AAB4904DB2A}" type="pres">
      <dgm:prSet presAssocID="{B8408C07-B965-420B-AA4F-EF7BF3626137}" presName="rootConnector" presStyleLbl="node2" presStyleIdx="3" presStyleCnt="5"/>
      <dgm:spPr/>
      <dgm:t>
        <a:bodyPr/>
        <a:lstStyle/>
        <a:p>
          <a:endParaRPr lang="en-GB"/>
        </a:p>
      </dgm:t>
    </dgm:pt>
    <dgm:pt modelId="{680C4AC6-7203-4B1B-9601-B803D3048B23}" type="pres">
      <dgm:prSet presAssocID="{B8408C07-B965-420B-AA4F-EF7BF3626137}" presName="hierChild4" presStyleCnt="0"/>
      <dgm:spPr/>
    </dgm:pt>
    <dgm:pt modelId="{3DC3783D-00DF-4D73-BC7D-A41DFB3A67B6}" type="pres">
      <dgm:prSet presAssocID="{259B2E52-E7E2-4233-88B2-F72E854BF241}" presName="Name37" presStyleLbl="parChTrans1D3" presStyleIdx="16" presStyleCnt="26"/>
      <dgm:spPr/>
      <dgm:t>
        <a:bodyPr/>
        <a:lstStyle/>
        <a:p>
          <a:endParaRPr lang="en-GB"/>
        </a:p>
      </dgm:t>
    </dgm:pt>
    <dgm:pt modelId="{60C8AFC8-C4AD-4B04-91D4-A5B5C090D367}" type="pres">
      <dgm:prSet presAssocID="{F4EA981A-F986-4877-BD25-5C14FE41D176}" presName="hierRoot2" presStyleCnt="0">
        <dgm:presLayoutVars>
          <dgm:hierBranch val="init"/>
        </dgm:presLayoutVars>
      </dgm:prSet>
      <dgm:spPr/>
    </dgm:pt>
    <dgm:pt modelId="{B486CE47-7DD5-48BF-8D75-E540029EE6CA}" type="pres">
      <dgm:prSet presAssocID="{F4EA981A-F986-4877-BD25-5C14FE41D176}" presName="rootComposite" presStyleCnt="0"/>
      <dgm:spPr/>
    </dgm:pt>
    <dgm:pt modelId="{0750D890-C529-4565-BAB3-D4A4004C9728}" type="pres">
      <dgm:prSet presAssocID="{F4EA981A-F986-4877-BD25-5C14FE41D176}" presName="rootText" presStyleLbl="node3" presStyleIdx="16" presStyleCnt="26" custScaleX="216984" custScaleY="126094" custLinFactNeighborX="-48324" custLinFactNeighborY="-51234">
        <dgm:presLayoutVars>
          <dgm:chPref val="3"/>
        </dgm:presLayoutVars>
      </dgm:prSet>
      <dgm:spPr/>
      <dgm:t>
        <a:bodyPr/>
        <a:lstStyle/>
        <a:p>
          <a:endParaRPr lang="en-GB"/>
        </a:p>
      </dgm:t>
    </dgm:pt>
    <dgm:pt modelId="{53D8C03D-8A58-4E09-A501-D19238429C1F}" type="pres">
      <dgm:prSet presAssocID="{F4EA981A-F986-4877-BD25-5C14FE41D176}" presName="rootConnector" presStyleLbl="node3" presStyleIdx="16" presStyleCnt="26"/>
      <dgm:spPr/>
      <dgm:t>
        <a:bodyPr/>
        <a:lstStyle/>
        <a:p>
          <a:endParaRPr lang="en-GB"/>
        </a:p>
      </dgm:t>
    </dgm:pt>
    <dgm:pt modelId="{9C4339F7-3EFD-4F3B-A986-8D230CE96470}" type="pres">
      <dgm:prSet presAssocID="{F4EA981A-F986-4877-BD25-5C14FE41D176}" presName="hierChild4" presStyleCnt="0"/>
      <dgm:spPr/>
    </dgm:pt>
    <dgm:pt modelId="{6841046C-A373-43FC-AD58-F587E8686F44}" type="pres">
      <dgm:prSet presAssocID="{F4EA981A-F986-4877-BD25-5C14FE41D176}" presName="hierChild5" presStyleCnt="0"/>
      <dgm:spPr/>
    </dgm:pt>
    <dgm:pt modelId="{1B9B1158-72D8-4646-84DD-EF716B116A0C}" type="pres">
      <dgm:prSet presAssocID="{B5C8BB55-6EF8-44D3-999A-69265F0E1FBC}" presName="Name37" presStyleLbl="parChTrans1D3" presStyleIdx="17" presStyleCnt="26"/>
      <dgm:spPr/>
      <dgm:t>
        <a:bodyPr/>
        <a:lstStyle/>
        <a:p>
          <a:endParaRPr lang="en-GB"/>
        </a:p>
      </dgm:t>
    </dgm:pt>
    <dgm:pt modelId="{91134C7B-6308-40CC-8BCC-21F895B27679}" type="pres">
      <dgm:prSet presAssocID="{93ABD30C-0E7B-486F-A681-9A005A28D744}" presName="hierRoot2" presStyleCnt="0">
        <dgm:presLayoutVars>
          <dgm:hierBranch val="init"/>
        </dgm:presLayoutVars>
      </dgm:prSet>
      <dgm:spPr/>
    </dgm:pt>
    <dgm:pt modelId="{907D4FED-0B85-4459-B11D-7880BF19FE84}" type="pres">
      <dgm:prSet presAssocID="{93ABD30C-0E7B-486F-A681-9A005A28D744}" presName="rootComposite" presStyleCnt="0"/>
      <dgm:spPr/>
    </dgm:pt>
    <dgm:pt modelId="{6B26C1DA-C267-4CEE-A825-2498CB5CCDE4}" type="pres">
      <dgm:prSet presAssocID="{93ABD30C-0E7B-486F-A681-9A005A28D744}" presName="rootText" presStyleLbl="node3" presStyleIdx="17" presStyleCnt="26" custScaleX="216984" custScaleY="126094" custLinFactNeighborX="-43216" custLinFactNeighborY="-77287">
        <dgm:presLayoutVars>
          <dgm:chPref val="3"/>
        </dgm:presLayoutVars>
      </dgm:prSet>
      <dgm:spPr/>
      <dgm:t>
        <a:bodyPr/>
        <a:lstStyle/>
        <a:p>
          <a:endParaRPr lang="en-GB"/>
        </a:p>
      </dgm:t>
    </dgm:pt>
    <dgm:pt modelId="{4DC09D01-8663-4654-AAA6-5B039AD072A1}" type="pres">
      <dgm:prSet presAssocID="{93ABD30C-0E7B-486F-A681-9A005A28D744}" presName="rootConnector" presStyleLbl="node3" presStyleIdx="17" presStyleCnt="26"/>
      <dgm:spPr/>
      <dgm:t>
        <a:bodyPr/>
        <a:lstStyle/>
        <a:p>
          <a:endParaRPr lang="en-GB"/>
        </a:p>
      </dgm:t>
    </dgm:pt>
    <dgm:pt modelId="{6D4C8EFB-9A63-4D1C-B48D-76E9CCC91125}" type="pres">
      <dgm:prSet presAssocID="{93ABD30C-0E7B-486F-A681-9A005A28D744}" presName="hierChild4" presStyleCnt="0"/>
      <dgm:spPr/>
    </dgm:pt>
    <dgm:pt modelId="{62F18575-2872-43AF-B296-AD9C83EBCE51}" type="pres">
      <dgm:prSet presAssocID="{93ABD30C-0E7B-486F-A681-9A005A28D744}" presName="hierChild5" presStyleCnt="0"/>
      <dgm:spPr/>
    </dgm:pt>
    <dgm:pt modelId="{07B10B61-0933-49D5-9F06-7E2744C55194}" type="pres">
      <dgm:prSet presAssocID="{4367FA1D-0ED9-4CD2-A69D-AB32E669494E}" presName="Name37" presStyleLbl="parChTrans1D3" presStyleIdx="18" presStyleCnt="26"/>
      <dgm:spPr/>
      <dgm:t>
        <a:bodyPr/>
        <a:lstStyle/>
        <a:p>
          <a:endParaRPr lang="en-GB"/>
        </a:p>
      </dgm:t>
    </dgm:pt>
    <dgm:pt modelId="{B7B6B13A-B466-44A7-9373-F20080332702}" type="pres">
      <dgm:prSet presAssocID="{698692B6-1357-4EE6-9048-DE912A24D330}" presName="hierRoot2" presStyleCnt="0">
        <dgm:presLayoutVars>
          <dgm:hierBranch val="init"/>
        </dgm:presLayoutVars>
      </dgm:prSet>
      <dgm:spPr/>
    </dgm:pt>
    <dgm:pt modelId="{8DD64E20-1315-4B75-8660-B8B28B286A90}" type="pres">
      <dgm:prSet presAssocID="{698692B6-1357-4EE6-9048-DE912A24D330}" presName="rootComposite" presStyleCnt="0"/>
      <dgm:spPr/>
    </dgm:pt>
    <dgm:pt modelId="{9E15D32B-A159-4B43-91E5-E167856E33BF}" type="pres">
      <dgm:prSet presAssocID="{698692B6-1357-4EE6-9048-DE912A24D330}" presName="rootText" presStyleLbl="node3" presStyleIdx="18" presStyleCnt="26" custScaleX="216984" custScaleY="126094" custLinFactY="-3339" custLinFactNeighborX="-43216" custLinFactNeighborY="-100000">
        <dgm:presLayoutVars>
          <dgm:chPref val="3"/>
        </dgm:presLayoutVars>
      </dgm:prSet>
      <dgm:spPr/>
      <dgm:t>
        <a:bodyPr/>
        <a:lstStyle/>
        <a:p>
          <a:endParaRPr lang="en-GB"/>
        </a:p>
      </dgm:t>
    </dgm:pt>
    <dgm:pt modelId="{445AE659-5C5A-488F-9D84-8716842FB809}" type="pres">
      <dgm:prSet presAssocID="{698692B6-1357-4EE6-9048-DE912A24D330}" presName="rootConnector" presStyleLbl="node3" presStyleIdx="18" presStyleCnt="26"/>
      <dgm:spPr/>
      <dgm:t>
        <a:bodyPr/>
        <a:lstStyle/>
        <a:p>
          <a:endParaRPr lang="en-GB"/>
        </a:p>
      </dgm:t>
    </dgm:pt>
    <dgm:pt modelId="{30005633-7034-4DF5-8FA8-E6150C3C532A}" type="pres">
      <dgm:prSet presAssocID="{698692B6-1357-4EE6-9048-DE912A24D330}" presName="hierChild4" presStyleCnt="0"/>
      <dgm:spPr/>
    </dgm:pt>
    <dgm:pt modelId="{D37E5529-BA5A-40ED-9DF4-F763BEE0B11E}" type="pres">
      <dgm:prSet presAssocID="{698692B6-1357-4EE6-9048-DE912A24D330}" presName="hierChild5" presStyleCnt="0"/>
      <dgm:spPr/>
    </dgm:pt>
    <dgm:pt modelId="{A8C59E33-8BD9-4E59-8FBA-3889B6B99033}" type="pres">
      <dgm:prSet presAssocID="{B8408C07-B965-420B-AA4F-EF7BF3626137}" presName="hierChild5" presStyleCnt="0"/>
      <dgm:spPr/>
    </dgm:pt>
    <dgm:pt modelId="{76881711-8B76-4157-8371-D2A005E257D7}" type="pres">
      <dgm:prSet presAssocID="{0C80A140-103B-41C0-9712-E50AB27044E3}" presName="Name37" presStyleLbl="parChTrans1D2" presStyleIdx="4" presStyleCnt="5"/>
      <dgm:spPr/>
      <dgm:t>
        <a:bodyPr/>
        <a:lstStyle/>
        <a:p>
          <a:endParaRPr lang="en-GB"/>
        </a:p>
      </dgm:t>
    </dgm:pt>
    <dgm:pt modelId="{B016AF52-EF24-48EA-B883-B7A6EEBD317C}" type="pres">
      <dgm:prSet presAssocID="{B983738D-B6CD-4ACC-B021-5D6559383373}" presName="hierRoot2" presStyleCnt="0">
        <dgm:presLayoutVars>
          <dgm:hierBranch val="init"/>
        </dgm:presLayoutVars>
      </dgm:prSet>
      <dgm:spPr/>
    </dgm:pt>
    <dgm:pt modelId="{7B1C4C30-4B36-4C3F-9AEE-26CC76DCF16A}" type="pres">
      <dgm:prSet presAssocID="{B983738D-B6CD-4ACC-B021-5D6559383373}" presName="rootComposite" presStyleCnt="0"/>
      <dgm:spPr/>
    </dgm:pt>
    <dgm:pt modelId="{C9A66C12-5161-47AC-809C-85074A4E7350}" type="pres">
      <dgm:prSet presAssocID="{B983738D-B6CD-4ACC-B021-5D6559383373}" presName="rootText" presStyleLbl="node2" presStyleIdx="4" presStyleCnt="5" custScaleX="243614" custScaleY="134544" custLinFactNeighborX="-3059" custLinFactNeighborY="-29859">
        <dgm:presLayoutVars>
          <dgm:chPref val="3"/>
        </dgm:presLayoutVars>
      </dgm:prSet>
      <dgm:spPr/>
      <dgm:t>
        <a:bodyPr/>
        <a:lstStyle/>
        <a:p>
          <a:endParaRPr lang="en-GB"/>
        </a:p>
      </dgm:t>
    </dgm:pt>
    <dgm:pt modelId="{1E0CCDDD-DA94-48AA-9AF2-605E42E813DB}" type="pres">
      <dgm:prSet presAssocID="{B983738D-B6CD-4ACC-B021-5D6559383373}" presName="rootConnector" presStyleLbl="node2" presStyleIdx="4" presStyleCnt="5"/>
      <dgm:spPr/>
      <dgm:t>
        <a:bodyPr/>
        <a:lstStyle/>
        <a:p>
          <a:endParaRPr lang="en-GB"/>
        </a:p>
      </dgm:t>
    </dgm:pt>
    <dgm:pt modelId="{0D2FB71C-9870-4800-99B8-E9BCED327B60}" type="pres">
      <dgm:prSet presAssocID="{B983738D-B6CD-4ACC-B021-5D6559383373}" presName="hierChild4" presStyleCnt="0"/>
      <dgm:spPr/>
    </dgm:pt>
    <dgm:pt modelId="{E969B95B-BF5F-4C79-8B06-7BB350822E73}" type="pres">
      <dgm:prSet presAssocID="{053B73E8-8B63-4D84-B935-856163DE1EFC}" presName="Name37" presStyleLbl="parChTrans1D3" presStyleIdx="19" presStyleCnt="26"/>
      <dgm:spPr/>
      <dgm:t>
        <a:bodyPr/>
        <a:lstStyle/>
        <a:p>
          <a:endParaRPr lang="en-GB"/>
        </a:p>
      </dgm:t>
    </dgm:pt>
    <dgm:pt modelId="{E4E41682-C694-4778-9E28-FB0026AF1386}" type="pres">
      <dgm:prSet presAssocID="{2FEE9ABB-9118-4F89-B57E-5FB3AE26A9DD}" presName="hierRoot2" presStyleCnt="0">
        <dgm:presLayoutVars>
          <dgm:hierBranch val="init"/>
        </dgm:presLayoutVars>
      </dgm:prSet>
      <dgm:spPr/>
    </dgm:pt>
    <dgm:pt modelId="{6A851532-5B0C-4B9B-9ECB-B4597A40A85E}" type="pres">
      <dgm:prSet presAssocID="{2FEE9ABB-9118-4F89-B57E-5FB3AE26A9DD}" presName="rootComposite" presStyleCnt="0"/>
      <dgm:spPr/>
    </dgm:pt>
    <dgm:pt modelId="{C6932264-56D3-4DF9-8D2C-021A743567DD}" type="pres">
      <dgm:prSet presAssocID="{2FEE9ABB-9118-4F89-B57E-5FB3AE26A9DD}" presName="rootText" presStyleLbl="node3" presStyleIdx="19" presStyleCnt="26" custScaleX="199071" custLinFactNeighborX="-44798" custLinFactNeighborY="-56996">
        <dgm:presLayoutVars>
          <dgm:chPref val="3"/>
        </dgm:presLayoutVars>
      </dgm:prSet>
      <dgm:spPr/>
      <dgm:t>
        <a:bodyPr/>
        <a:lstStyle/>
        <a:p>
          <a:endParaRPr lang="en-GB"/>
        </a:p>
      </dgm:t>
    </dgm:pt>
    <dgm:pt modelId="{DD9CCF90-B2E3-4925-9055-02B847306E59}" type="pres">
      <dgm:prSet presAssocID="{2FEE9ABB-9118-4F89-B57E-5FB3AE26A9DD}" presName="rootConnector" presStyleLbl="node3" presStyleIdx="19" presStyleCnt="26"/>
      <dgm:spPr/>
      <dgm:t>
        <a:bodyPr/>
        <a:lstStyle/>
        <a:p>
          <a:endParaRPr lang="en-GB"/>
        </a:p>
      </dgm:t>
    </dgm:pt>
    <dgm:pt modelId="{9C95F66F-D879-42DF-941B-74DE22032C94}" type="pres">
      <dgm:prSet presAssocID="{2FEE9ABB-9118-4F89-B57E-5FB3AE26A9DD}" presName="hierChild4" presStyleCnt="0"/>
      <dgm:spPr/>
    </dgm:pt>
    <dgm:pt modelId="{4AFB5385-10EC-475F-B2F8-B6CCD7D7E4D2}" type="pres">
      <dgm:prSet presAssocID="{2FEE9ABB-9118-4F89-B57E-5FB3AE26A9DD}" presName="hierChild5" presStyleCnt="0"/>
      <dgm:spPr/>
    </dgm:pt>
    <dgm:pt modelId="{30D36E63-1B7A-4999-B032-672C2B5B93C8}" type="pres">
      <dgm:prSet presAssocID="{7F261382-8D87-413A-8D05-DC35E9B459FF}" presName="Name37" presStyleLbl="parChTrans1D3" presStyleIdx="20" presStyleCnt="26"/>
      <dgm:spPr/>
      <dgm:t>
        <a:bodyPr/>
        <a:lstStyle/>
        <a:p>
          <a:endParaRPr lang="en-GB"/>
        </a:p>
      </dgm:t>
    </dgm:pt>
    <dgm:pt modelId="{3A929C0E-81FB-4E7A-BE59-62AB48FCBF88}" type="pres">
      <dgm:prSet presAssocID="{9D90A7A5-CCD4-4D01-BA9A-53F4E97656E6}" presName="hierRoot2" presStyleCnt="0">
        <dgm:presLayoutVars>
          <dgm:hierBranch val="init"/>
        </dgm:presLayoutVars>
      </dgm:prSet>
      <dgm:spPr/>
    </dgm:pt>
    <dgm:pt modelId="{010BE033-EC63-4A67-B243-9D80E2AA578A}" type="pres">
      <dgm:prSet presAssocID="{9D90A7A5-CCD4-4D01-BA9A-53F4E97656E6}" presName="rootComposite" presStyleCnt="0"/>
      <dgm:spPr/>
    </dgm:pt>
    <dgm:pt modelId="{699B182D-F671-424A-9A63-23C7C7B4D8F7}" type="pres">
      <dgm:prSet presAssocID="{9D90A7A5-CCD4-4D01-BA9A-53F4E97656E6}" presName="rootText" presStyleLbl="node3" presStyleIdx="20" presStyleCnt="26" custScaleX="199071" custLinFactNeighborX="-44431" custLinFactNeighborY="-87041">
        <dgm:presLayoutVars>
          <dgm:chPref val="3"/>
        </dgm:presLayoutVars>
      </dgm:prSet>
      <dgm:spPr/>
      <dgm:t>
        <a:bodyPr/>
        <a:lstStyle/>
        <a:p>
          <a:endParaRPr lang="en-GB"/>
        </a:p>
      </dgm:t>
    </dgm:pt>
    <dgm:pt modelId="{4803F6AC-2159-4596-8F72-02FB462BBC70}" type="pres">
      <dgm:prSet presAssocID="{9D90A7A5-CCD4-4D01-BA9A-53F4E97656E6}" presName="rootConnector" presStyleLbl="node3" presStyleIdx="20" presStyleCnt="26"/>
      <dgm:spPr/>
      <dgm:t>
        <a:bodyPr/>
        <a:lstStyle/>
        <a:p>
          <a:endParaRPr lang="en-GB"/>
        </a:p>
      </dgm:t>
    </dgm:pt>
    <dgm:pt modelId="{86B10551-3A3E-41F6-A685-E06E17DB6929}" type="pres">
      <dgm:prSet presAssocID="{9D90A7A5-CCD4-4D01-BA9A-53F4E97656E6}" presName="hierChild4" presStyleCnt="0"/>
      <dgm:spPr/>
    </dgm:pt>
    <dgm:pt modelId="{209ADEF1-73DF-445E-821E-111D0C0ECE48}" type="pres">
      <dgm:prSet presAssocID="{9D90A7A5-CCD4-4D01-BA9A-53F4E97656E6}" presName="hierChild5" presStyleCnt="0"/>
      <dgm:spPr/>
    </dgm:pt>
    <dgm:pt modelId="{0513B296-BBE7-4146-9B5C-663C91C280DB}" type="pres">
      <dgm:prSet presAssocID="{D9CCD712-DF0C-486C-9EAE-42146F1FF777}" presName="Name37" presStyleLbl="parChTrans1D3" presStyleIdx="21" presStyleCnt="26"/>
      <dgm:spPr/>
      <dgm:t>
        <a:bodyPr/>
        <a:lstStyle/>
        <a:p>
          <a:endParaRPr lang="en-GB"/>
        </a:p>
      </dgm:t>
    </dgm:pt>
    <dgm:pt modelId="{B8858D5F-7F88-42D1-9217-E0B98A94FD47}" type="pres">
      <dgm:prSet presAssocID="{E13C7255-99C3-463C-88B3-944FDDEDDCC1}" presName="hierRoot2" presStyleCnt="0">
        <dgm:presLayoutVars>
          <dgm:hierBranch val="init"/>
        </dgm:presLayoutVars>
      </dgm:prSet>
      <dgm:spPr/>
    </dgm:pt>
    <dgm:pt modelId="{24AEDB05-C598-4D63-A24B-484993FF08B2}" type="pres">
      <dgm:prSet presAssocID="{E13C7255-99C3-463C-88B3-944FDDEDDCC1}" presName="rootComposite" presStyleCnt="0"/>
      <dgm:spPr/>
    </dgm:pt>
    <dgm:pt modelId="{F470B49C-FBB9-45ED-A78A-B1F71A6D76AD}" type="pres">
      <dgm:prSet presAssocID="{E13C7255-99C3-463C-88B3-944FDDEDDCC1}" presName="rootText" presStyleLbl="node3" presStyleIdx="21" presStyleCnt="26" custScaleX="199071" custLinFactY="-14176" custLinFactNeighborX="-44431" custLinFactNeighborY="-100000">
        <dgm:presLayoutVars>
          <dgm:chPref val="3"/>
        </dgm:presLayoutVars>
      </dgm:prSet>
      <dgm:spPr/>
      <dgm:t>
        <a:bodyPr/>
        <a:lstStyle/>
        <a:p>
          <a:endParaRPr lang="en-GB"/>
        </a:p>
      </dgm:t>
    </dgm:pt>
    <dgm:pt modelId="{81388B3A-C50A-4FAA-BF40-8230A03C9B9A}" type="pres">
      <dgm:prSet presAssocID="{E13C7255-99C3-463C-88B3-944FDDEDDCC1}" presName="rootConnector" presStyleLbl="node3" presStyleIdx="21" presStyleCnt="26"/>
      <dgm:spPr/>
      <dgm:t>
        <a:bodyPr/>
        <a:lstStyle/>
        <a:p>
          <a:endParaRPr lang="en-GB"/>
        </a:p>
      </dgm:t>
    </dgm:pt>
    <dgm:pt modelId="{CB51F144-535B-4F4B-BBE8-2C80F6F7F0F9}" type="pres">
      <dgm:prSet presAssocID="{E13C7255-99C3-463C-88B3-944FDDEDDCC1}" presName="hierChild4" presStyleCnt="0"/>
      <dgm:spPr/>
    </dgm:pt>
    <dgm:pt modelId="{259FE6F9-A254-4881-B500-D9A71E5D65D2}" type="pres">
      <dgm:prSet presAssocID="{E13C7255-99C3-463C-88B3-944FDDEDDCC1}" presName="hierChild5" presStyleCnt="0"/>
      <dgm:spPr/>
    </dgm:pt>
    <dgm:pt modelId="{47F1120A-A083-49E8-9E5C-CE1F6413F9BB}" type="pres">
      <dgm:prSet presAssocID="{F5AAD115-D470-4475-8607-D5E6FED1948F}" presName="Name37" presStyleLbl="parChTrans1D3" presStyleIdx="22" presStyleCnt="26"/>
      <dgm:spPr/>
      <dgm:t>
        <a:bodyPr/>
        <a:lstStyle/>
        <a:p>
          <a:endParaRPr lang="en-GB"/>
        </a:p>
      </dgm:t>
    </dgm:pt>
    <dgm:pt modelId="{59794096-81C7-41A7-8BC8-A5D7F3FC85FE}" type="pres">
      <dgm:prSet presAssocID="{BC412EB7-C7E5-4551-B509-CA54EA28D57E}" presName="hierRoot2" presStyleCnt="0">
        <dgm:presLayoutVars>
          <dgm:hierBranch val="init"/>
        </dgm:presLayoutVars>
      </dgm:prSet>
      <dgm:spPr/>
    </dgm:pt>
    <dgm:pt modelId="{22EBDFD3-E422-4965-BF60-7CDD7822315D}" type="pres">
      <dgm:prSet presAssocID="{BC412EB7-C7E5-4551-B509-CA54EA28D57E}" presName="rootComposite" presStyleCnt="0"/>
      <dgm:spPr/>
    </dgm:pt>
    <dgm:pt modelId="{20731877-7187-429D-B3A8-7DECDA5070FE}" type="pres">
      <dgm:prSet presAssocID="{BC412EB7-C7E5-4551-B509-CA54EA28D57E}" presName="rootText" presStyleLbl="node3" presStyleIdx="22" presStyleCnt="26" custScaleX="199071" custLinFactY="-37402" custLinFactNeighborX="-44431" custLinFactNeighborY="-100000">
        <dgm:presLayoutVars>
          <dgm:chPref val="3"/>
        </dgm:presLayoutVars>
      </dgm:prSet>
      <dgm:spPr/>
      <dgm:t>
        <a:bodyPr/>
        <a:lstStyle/>
        <a:p>
          <a:endParaRPr lang="en-GB"/>
        </a:p>
      </dgm:t>
    </dgm:pt>
    <dgm:pt modelId="{B64ED020-C463-49FF-8094-016150B2A60C}" type="pres">
      <dgm:prSet presAssocID="{BC412EB7-C7E5-4551-B509-CA54EA28D57E}" presName="rootConnector" presStyleLbl="node3" presStyleIdx="22" presStyleCnt="26"/>
      <dgm:spPr/>
      <dgm:t>
        <a:bodyPr/>
        <a:lstStyle/>
        <a:p>
          <a:endParaRPr lang="en-GB"/>
        </a:p>
      </dgm:t>
    </dgm:pt>
    <dgm:pt modelId="{EA9BAB9B-5E77-475B-AE9C-0CBD4E07AB33}" type="pres">
      <dgm:prSet presAssocID="{BC412EB7-C7E5-4551-B509-CA54EA28D57E}" presName="hierChild4" presStyleCnt="0"/>
      <dgm:spPr/>
    </dgm:pt>
    <dgm:pt modelId="{FB48E384-92C0-4C77-BF57-00E2BB453755}" type="pres">
      <dgm:prSet presAssocID="{BC412EB7-C7E5-4551-B509-CA54EA28D57E}" presName="hierChild5" presStyleCnt="0"/>
      <dgm:spPr/>
    </dgm:pt>
    <dgm:pt modelId="{5FD6F4FB-DDB8-4ECF-B98C-0BEC42938CD3}" type="pres">
      <dgm:prSet presAssocID="{CBD5489F-E4C0-487E-8E70-409B6544C7FE}" presName="Name37" presStyleLbl="parChTrans1D3" presStyleIdx="23" presStyleCnt="26"/>
      <dgm:spPr/>
      <dgm:t>
        <a:bodyPr/>
        <a:lstStyle/>
        <a:p>
          <a:endParaRPr lang="en-GB"/>
        </a:p>
      </dgm:t>
    </dgm:pt>
    <dgm:pt modelId="{09C1AAE6-97D2-45F0-AA5F-3BDB24EEADC8}" type="pres">
      <dgm:prSet presAssocID="{8CE32C3B-0D8F-4350-95E0-06E2647F48A5}" presName="hierRoot2" presStyleCnt="0">
        <dgm:presLayoutVars>
          <dgm:hierBranch val="init"/>
        </dgm:presLayoutVars>
      </dgm:prSet>
      <dgm:spPr/>
    </dgm:pt>
    <dgm:pt modelId="{8DBA0E44-5570-43AF-832B-1A54869FDB2A}" type="pres">
      <dgm:prSet presAssocID="{8CE32C3B-0D8F-4350-95E0-06E2647F48A5}" presName="rootComposite" presStyleCnt="0"/>
      <dgm:spPr/>
    </dgm:pt>
    <dgm:pt modelId="{1A8B11D2-3342-43F5-B281-F26FA4BDE16F}" type="pres">
      <dgm:prSet presAssocID="{8CE32C3B-0D8F-4350-95E0-06E2647F48A5}" presName="rootText" presStyleLbl="node3" presStyleIdx="23" presStyleCnt="26" custScaleX="199071" custLinFactY="-61610" custLinFactNeighborX="-44431" custLinFactNeighborY="-100000">
        <dgm:presLayoutVars>
          <dgm:chPref val="3"/>
        </dgm:presLayoutVars>
      </dgm:prSet>
      <dgm:spPr/>
      <dgm:t>
        <a:bodyPr/>
        <a:lstStyle/>
        <a:p>
          <a:endParaRPr lang="en-GB"/>
        </a:p>
      </dgm:t>
    </dgm:pt>
    <dgm:pt modelId="{B991F8E7-E96B-4D05-AE80-B5FE9647EED7}" type="pres">
      <dgm:prSet presAssocID="{8CE32C3B-0D8F-4350-95E0-06E2647F48A5}" presName="rootConnector" presStyleLbl="node3" presStyleIdx="23" presStyleCnt="26"/>
      <dgm:spPr/>
      <dgm:t>
        <a:bodyPr/>
        <a:lstStyle/>
        <a:p>
          <a:endParaRPr lang="en-GB"/>
        </a:p>
      </dgm:t>
    </dgm:pt>
    <dgm:pt modelId="{27FC1422-098A-4B73-9241-2A583A938843}" type="pres">
      <dgm:prSet presAssocID="{8CE32C3B-0D8F-4350-95E0-06E2647F48A5}" presName="hierChild4" presStyleCnt="0"/>
      <dgm:spPr/>
    </dgm:pt>
    <dgm:pt modelId="{9D794841-7694-453F-AF78-B2CE32D1AA95}" type="pres">
      <dgm:prSet presAssocID="{8CE32C3B-0D8F-4350-95E0-06E2647F48A5}" presName="hierChild5" presStyleCnt="0"/>
      <dgm:spPr/>
    </dgm:pt>
    <dgm:pt modelId="{2A44425D-D7C8-40F6-A0F1-CB9AD593B73B}" type="pres">
      <dgm:prSet presAssocID="{143F3EEF-62D8-43AD-8063-BA1FD86AC836}" presName="Name37" presStyleLbl="parChTrans1D3" presStyleIdx="24" presStyleCnt="26"/>
      <dgm:spPr/>
      <dgm:t>
        <a:bodyPr/>
        <a:lstStyle/>
        <a:p>
          <a:endParaRPr lang="en-GB"/>
        </a:p>
      </dgm:t>
    </dgm:pt>
    <dgm:pt modelId="{425919B7-9E1B-4C61-BBA5-3B5568B3D22D}" type="pres">
      <dgm:prSet presAssocID="{4A08814D-C873-480C-BD28-7A65D53F71D8}" presName="hierRoot2" presStyleCnt="0">
        <dgm:presLayoutVars>
          <dgm:hierBranch val="init"/>
        </dgm:presLayoutVars>
      </dgm:prSet>
      <dgm:spPr/>
    </dgm:pt>
    <dgm:pt modelId="{FC05B788-26A6-4CD1-9579-8AD4F5122318}" type="pres">
      <dgm:prSet presAssocID="{4A08814D-C873-480C-BD28-7A65D53F71D8}" presName="rootComposite" presStyleCnt="0"/>
      <dgm:spPr/>
    </dgm:pt>
    <dgm:pt modelId="{043824C3-24DA-4A30-A957-CD48C867E7EB}" type="pres">
      <dgm:prSet presAssocID="{4A08814D-C873-480C-BD28-7A65D53F71D8}" presName="rootText" presStyleLbl="node3" presStyleIdx="24" presStyleCnt="26" custScaleX="199071" custLinFactY="-81925" custLinFactNeighborX="-44431" custLinFactNeighborY="-100000">
        <dgm:presLayoutVars>
          <dgm:chPref val="3"/>
        </dgm:presLayoutVars>
      </dgm:prSet>
      <dgm:spPr/>
      <dgm:t>
        <a:bodyPr/>
        <a:lstStyle/>
        <a:p>
          <a:endParaRPr lang="en-GB"/>
        </a:p>
      </dgm:t>
    </dgm:pt>
    <dgm:pt modelId="{8A5A4975-D139-4DFF-BF92-2C4891FCFD7D}" type="pres">
      <dgm:prSet presAssocID="{4A08814D-C873-480C-BD28-7A65D53F71D8}" presName="rootConnector" presStyleLbl="node3" presStyleIdx="24" presStyleCnt="26"/>
      <dgm:spPr/>
      <dgm:t>
        <a:bodyPr/>
        <a:lstStyle/>
        <a:p>
          <a:endParaRPr lang="en-GB"/>
        </a:p>
      </dgm:t>
    </dgm:pt>
    <dgm:pt modelId="{C4C88432-A0E0-466E-93A2-DB3F93B5EF73}" type="pres">
      <dgm:prSet presAssocID="{4A08814D-C873-480C-BD28-7A65D53F71D8}" presName="hierChild4" presStyleCnt="0"/>
      <dgm:spPr/>
    </dgm:pt>
    <dgm:pt modelId="{A7715335-09D7-4946-B779-A42808A7EC71}" type="pres">
      <dgm:prSet presAssocID="{4A08814D-C873-480C-BD28-7A65D53F71D8}" presName="hierChild5" presStyleCnt="0"/>
      <dgm:spPr/>
    </dgm:pt>
    <dgm:pt modelId="{D9E992A6-A633-4754-A876-B06BF9F7A37B}" type="pres">
      <dgm:prSet presAssocID="{6C962E12-A7E7-4DBA-B1EE-60065B1DDA80}" presName="Name37" presStyleLbl="parChTrans1D3" presStyleIdx="25" presStyleCnt="26"/>
      <dgm:spPr/>
      <dgm:t>
        <a:bodyPr/>
        <a:lstStyle/>
        <a:p>
          <a:endParaRPr lang="en-GB"/>
        </a:p>
      </dgm:t>
    </dgm:pt>
    <dgm:pt modelId="{C8EFECE9-7CC0-4C94-BC3C-8CE7CF6FB630}" type="pres">
      <dgm:prSet presAssocID="{44283B74-6908-4E7F-9B11-0AFB346BE0A4}" presName="hierRoot2" presStyleCnt="0">
        <dgm:presLayoutVars>
          <dgm:hierBranch val="init"/>
        </dgm:presLayoutVars>
      </dgm:prSet>
      <dgm:spPr/>
    </dgm:pt>
    <dgm:pt modelId="{B0F2454C-1505-45FF-95F9-BF53329A8B26}" type="pres">
      <dgm:prSet presAssocID="{44283B74-6908-4E7F-9B11-0AFB346BE0A4}" presName="rootComposite" presStyleCnt="0"/>
      <dgm:spPr/>
    </dgm:pt>
    <dgm:pt modelId="{93FCE660-DDC3-4AB5-B916-99CEE63A83BE}" type="pres">
      <dgm:prSet presAssocID="{44283B74-6908-4E7F-9B11-0AFB346BE0A4}" presName="rootText" presStyleLbl="node3" presStyleIdx="25" presStyleCnt="26" custScaleX="199071" custScaleY="103037" custLinFactY="-100000" custLinFactNeighborX="-44431" custLinFactNeighborY="-108079">
        <dgm:presLayoutVars>
          <dgm:chPref val="3"/>
        </dgm:presLayoutVars>
      </dgm:prSet>
      <dgm:spPr/>
      <dgm:t>
        <a:bodyPr/>
        <a:lstStyle/>
        <a:p>
          <a:endParaRPr lang="en-GB"/>
        </a:p>
      </dgm:t>
    </dgm:pt>
    <dgm:pt modelId="{A9406A68-DF67-4473-ACC1-B0C98CF9EF57}" type="pres">
      <dgm:prSet presAssocID="{44283B74-6908-4E7F-9B11-0AFB346BE0A4}" presName="rootConnector" presStyleLbl="node3" presStyleIdx="25" presStyleCnt="26"/>
      <dgm:spPr/>
      <dgm:t>
        <a:bodyPr/>
        <a:lstStyle/>
        <a:p>
          <a:endParaRPr lang="en-GB"/>
        </a:p>
      </dgm:t>
    </dgm:pt>
    <dgm:pt modelId="{CD10DD08-9C09-4AEA-82BC-62178C8FAE16}" type="pres">
      <dgm:prSet presAssocID="{44283B74-6908-4E7F-9B11-0AFB346BE0A4}" presName="hierChild4" presStyleCnt="0"/>
      <dgm:spPr/>
    </dgm:pt>
    <dgm:pt modelId="{C89D0D45-3664-44AC-BDAC-3B543E36099A}" type="pres">
      <dgm:prSet presAssocID="{44283B74-6908-4E7F-9B11-0AFB346BE0A4}" presName="hierChild5" presStyleCnt="0"/>
      <dgm:spPr/>
    </dgm:pt>
    <dgm:pt modelId="{A2B46BB7-F381-46BB-BC2D-7BE85501FBCC}" type="pres">
      <dgm:prSet presAssocID="{B983738D-B6CD-4ACC-B021-5D6559383373}" presName="hierChild5" presStyleCnt="0"/>
      <dgm:spPr/>
    </dgm:pt>
    <dgm:pt modelId="{D141E0DF-F6A8-42EF-9C5A-D0A3BD548DD4}" type="pres">
      <dgm:prSet presAssocID="{563B9CF3-40AE-4F6D-9802-FBE29F2DB0FD}" presName="hierChild3" presStyleCnt="0"/>
      <dgm:spPr/>
    </dgm:pt>
  </dgm:ptLst>
  <dgm:cxnLst>
    <dgm:cxn modelId="{B27819D5-666F-4F6D-B954-BDD5B1ACBFFB}" type="presOf" srcId="{9D90A7A5-CCD4-4D01-BA9A-53F4E97656E6}" destId="{699B182D-F671-424A-9A63-23C7C7B4D8F7}" srcOrd="0" destOrd="0" presId="urn:microsoft.com/office/officeart/2005/8/layout/orgChart1"/>
    <dgm:cxn modelId="{6684532A-A2E2-4611-9C4F-7E909D216AE2}" type="presOf" srcId="{E13C7255-99C3-463C-88B3-944FDDEDDCC1}" destId="{F470B49C-FBB9-45ED-A78A-B1F71A6D76AD}" srcOrd="0" destOrd="0" presId="urn:microsoft.com/office/officeart/2005/8/layout/orgChart1"/>
    <dgm:cxn modelId="{41E97A67-631E-489F-8154-4229D0650065}" type="presOf" srcId="{143F3EEF-62D8-43AD-8063-BA1FD86AC836}" destId="{2A44425D-D7C8-40F6-A0F1-CB9AD593B73B}" srcOrd="0" destOrd="0" presId="urn:microsoft.com/office/officeart/2005/8/layout/orgChart1"/>
    <dgm:cxn modelId="{6C245000-2562-4BAC-B4FF-150B8676E2A0}" type="presOf" srcId="{A8A7589E-3DC7-45D1-8F72-BB5B052E3F69}" destId="{CF73B623-D36E-4A4E-8B66-62BC3E50EC0C}" srcOrd="0" destOrd="0" presId="urn:microsoft.com/office/officeart/2005/8/layout/orgChart1"/>
    <dgm:cxn modelId="{DD4B4645-67C7-4B75-B386-93A656620F9B}" type="presOf" srcId="{85F876EE-37BA-45E8-8766-D372D6B5A6B4}" destId="{B023BEAD-FFE1-4FE2-87DF-FBE8E5BE29A9}" srcOrd="0" destOrd="0" presId="urn:microsoft.com/office/officeart/2005/8/layout/orgChart1"/>
    <dgm:cxn modelId="{055676E4-8B14-4F66-B99D-3BC499885A0B}" type="presOf" srcId="{2FEE9ABB-9118-4F89-B57E-5FB3AE26A9DD}" destId="{DD9CCF90-B2E3-4925-9055-02B847306E59}" srcOrd="1" destOrd="0" presId="urn:microsoft.com/office/officeart/2005/8/layout/orgChart1"/>
    <dgm:cxn modelId="{9D9D6A10-7AC0-4766-8FED-660A6B430352}" type="presOf" srcId="{4367FA1D-0ED9-4CD2-A69D-AB32E669494E}" destId="{07B10B61-0933-49D5-9F06-7E2744C55194}" srcOrd="0" destOrd="0" presId="urn:microsoft.com/office/officeart/2005/8/layout/orgChart1"/>
    <dgm:cxn modelId="{307B5CA5-8766-443B-B6C2-FA100B38E0CC}" type="presOf" srcId="{93ABD30C-0E7B-486F-A681-9A005A28D744}" destId="{4DC09D01-8663-4654-AAA6-5B039AD072A1}" srcOrd="1" destOrd="0" presId="urn:microsoft.com/office/officeart/2005/8/layout/orgChart1"/>
    <dgm:cxn modelId="{25E7CF16-40BC-4E18-809E-7D839470505D}" type="presOf" srcId="{0C80A140-103B-41C0-9712-E50AB27044E3}" destId="{76881711-8B76-4157-8371-D2A005E257D7}" srcOrd="0" destOrd="0" presId="urn:microsoft.com/office/officeart/2005/8/layout/orgChart1"/>
    <dgm:cxn modelId="{AF515294-5BFB-4B5C-A151-01572641980A}" type="presOf" srcId="{EB2D0AFA-7107-4A7F-B30A-85794C6D48A5}" destId="{4292BEEF-ED59-4044-B99B-DC4347476C93}" srcOrd="0" destOrd="0" presId="urn:microsoft.com/office/officeart/2005/8/layout/orgChart1"/>
    <dgm:cxn modelId="{EEFEDA24-8561-4FEC-9D00-07968C607754}" srcId="{27C0C58C-3A95-4427-952F-34ADD3E4CA9C}" destId="{B3CDC9F2-1FA6-4E0F-8439-B8268D9B8069}" srcOrd="4" destOrd="0" parTransId="{74CFB57A-27E6-492C-AA1E-444AA012A6C4}" sibTransId="{B0125F60-2B77-4FFD-9FBC-A9FA2F50345F}"/>
    <dgm:cxn modelId="{4C9FC17B-B7A8-46AC-8732-088ED474BB0A}" type="presOf" srcId="{205FFF2B-3A41-4A88-A3BE-31B22C2574A7}" destId="{D08577E6-9F61-4368-8C6C-6BFE825C8CCF}" srcOrd="0" destOrd="0" presId="urn:microsoft.com/office/officeart/2005/8/layout/orgChart1"/>
    <dgm:cxn modelId="{5AA2DB28-DF8D-44F6-9B46-32703EA94670}" type="presOf" srcId="{A8EDCBF5-48EE-49F5-8B6F-59FB4A586749}" destId="{074B3E2F-8466-4A4D-AA59-72F2C06F9895}" srcOrd="0" destOrd="0" presId="urn:microsoft.com/office/officeart/2005/8/layout/orgChart1"/>
    <dgm:cxn modelId="{BEC21627-1B19-4907-9560-F678D15EC6B5}" type="presOf" srcId="{B983738D-B6CD-4ACC-B021-5D6559383373}" destId="{C9A66C12-5161-47AC-809C-85074A4E7350}" srcOrd="0" destOrd="0" presId="urn:microsoft.com/office/officeart/2005/8/layout/orgChart1"/>
    <dgm:cxn modelId="{619754EB-FE9A-4574-9A63-713A12C29435}" type="presOf" srcId="{4D9ED46B-69D1-47A5-8587-425F875E60C9}" destId="{F65783CD-FCF3-4364-BDAE-C6B8F35DE4E5}" srcOrd="1" destOrd="0" presId="urn:microsoft.com/office/officeart/2005/8/layout/orgChart1"/>
    <dgm:cxn modelId="{37A2D81C-FD88-4C6A-842A-42948304A49B}" type="presOf" srcId="{2FEE9ABB-9118-4F89-B57E-5FB3AE26A9DD}" destId="{C6932264-56D3-4DF9-8D2C-021A743567DD}" srcOrd="0" destOrd="0" presId="urn:microsoft.com/office/officeart/2005/8/layout/orgChart1"/>
    <dgm:cxn modelId="{1218F783-E3E5-4AEC-B3DD-5D79152D7D21}" type="presOf" srcId="{9A7E722F-D005-476C-8D43-4076AB9F30B1}" destId="{9F604B41-DE7E-407E-92F7-E7B8863509DE}" srcOrd="1" destOrd="0" presId="urn:microsoft.com/office/officeart/2005/8/layout/orgChart1"/>
    <dgm:cxn modelId="{1F553D75-5110-40CF-9624-5D7F195DDEB5}" type="presOf" srcId="{25DBDE9B-DA2B-4E29-B989-575DA86021B8}" destId="{AE4351CA-69DC-4BA0-AB6C-9CE1DF3BD1D6}" srcOrd="1" destOrd="0" presId="urn:microsoft.com/office/officeart/2005/8/layout/orgChart1"/>
    <dgm:cxn modelId="{1F611F66-E825-490E-BB89-E0A1B69C25A0}" srcId="{B8408C07-B965-420B-AA4F-EF7BF3626137}" destId="{93ABD30C-0E7B-486F-A681-9A005A28D744}" srcOrd="1" destOrd="0" parTransId="{B5C8BB55-6EF8-44D3-999A-69265F0E1FBC}" sibTransId="{863BD30A-A7E9-45B6-B8A5-658CBA70071A}"/>
    <dgm:cxn modelId="{CDB4B781-5571-4E7E-AC52-CA1071DC05C9}" type="presOf" srcId="{232AA91C-A830-4893-AB0C-E0B807EEE6B2}" destId="{5A19E98F-0F3A-4E09-AB65-E5F1DA066601}" srcOrd="1" destOrd="0" presId="urn:microsoft.com/office/officeart/2005/8/layout/orgChart1"/>
    <dgm:cxn modelId="{0CB407C0-2E9A-4EE8-900F-51938B7A358F}" srcId="{8022EEFC-19A3-4AF2-888C-321CE5B24E4C}" destId="{563B9CF3-40AE-4F6D-9802-FBE29F2DB0FD}" srcOrd="0" destOrd="0" parTransId="{3E9FD29A-F7AA-4812-AFD7-F4473F2158AD}" sibTransId="{05BEB253-1CA9-4CA9-8CD4-0CB9A17B327C}"/>
    <dgm:cxn modelId="{FB42C3D8-CE90-449C-B04F-06F050D5A37E}" type="presOf" srcId="{1AEE5C21-8809-4BD3-BF4B-96F643A6442C}" destId="{8126E7ED-1EFB-4DC7-B93C-A509EDCFECC6}" srcOrd="0" destOrd="0" presId="urn:microsoft.com/office/officeart/2005/8/layout/orgChart1"/>
    <dgm:cxn modelId="{20DD6BCF-EBBB-46CF-B3F2-5F45E2F4073A}" srcId="{83E65023-33D0-46DA-A1B3-7F0C7C8C046D}" destId="{4A273B54-5675-4A36-BC30-269F184B394E}" srcOrd="5" destOrd="0" parTransId="{B9768B53-8850-4D94-B15A-B424BE92EB7A}" sibTransId="{52079362-CDB7-4D88-9EF5-A9C28CCD6275}"/>
    <dgm:cxn modelId="{7283AEC3-5A9D-49B3-B035-280F58A08BAC}" srcId="{B983738D-B6CD-4ACC-B021-5D6559383373}" destId="{8CE32C3B-0D8F-4350-95E0-06E2647F48A5}" srcOrd="4" destOrd="0" parTransId="{CBD5489F-E4C0-487E-8E70-409B6544C7FE}" sibTransId="{3D84A69F-E197-4E30-9927-1DF3D525EF39}"/>
    <dgm:cxn modelId="{C89FDE7A-5100-499A-92EE-4A0241FC9D27}" type="presOf" srcId="{27C0C58C-3A95-4427-952F-34ADD3E4CA9C}" destId="{5658B9D7-A9F2-4897-B0C6-17D9C45E1BD9}" srcOrd="1" destOrd="0" presId="urn:microsoft.com/office/officeart/2005/8/layout/orgChart1"/>
    <dgm:cxn modelId="{E161F89A-1A0B-4996-B618-695861845180}" srcId="{B8408C07-B965-420B-AA4F-EF7BF3626137}" destId="{698692B6-1357-4EE6-9048-DE912A24D330}" srcOrd="2" destOrd="0" parTransId="{4367FA1D-0ED9-4CD2-A69D-AB32E669494E}" sibTransId="{8FA8089E-2D51-4610-81D7-AB21AC040FFC}"/>
    <dgm:cxn modelId="{07499877-4169-4334-95C4-B5940AC0C219}" type="presOf" srcId="{D9CCD712-DF0C-486C-9EAE-42146F1FF777}" destId="{0513B296-BBE7-4146-9B5C-663C91C280DB}" srcOrd="0" destOrd="0" presId="urn:microsoft.com/office/officeart/2005/8/layout/orgChart1"/>
    <dgm:cxn modelId="{4F72855B-9CCE-4572-A270-3AF8C136A761}" type="presOf" srcId="{6C962E12-A7E7-4DBA-B1EE-60065B1DDA80}" destId="{D9E992A6-A633-4754-A876-B06BF9F7A37B}" srcOrd="0" destOrd="0" presId="urn:microsoft.com/office/officeart/2005/8/layout/orgChart1"/>
    <dgm:cxn modelId="{2E8EAAA6-43ED-475C-9805-9B0DF2A6BDCE}" type="presOf" srcId="{F4EA981A-F986-4877-BD25-5C14FE41D176}" destId="{0750D890-C529-4565-BAB3-D4A4004C9728}" srcOrd="0" destOrd="0" presId="urn:microsoft.com/office/officeart/2005/8/layout/orgChart1"/>
    <dgm:cxn modelId="{587AB2A4-7337-4DB5-9B1C-7C2AC5D0D696}" type="presOf" srcId="{4D9ED46B-69D1-47A5-8587-425F875E60C9}" destId="{7DE978DE-FDD4-4585-A148-67512926481F}" srcOrd="0" destOrd="0" presId="urn:microsoft.com/office/officeart/2005/8/layout/orgChart1"/>
    <dgm:cxn modelId="{621EE3B8-6D07-459C-A6D3-E3BA410FE6C2}" srcId="{563B9CF3-40AE-4F6D-9802-FBE29F2DB0FD}" destId="{27C0C58C-3A95-4427-952F-34ADD3E4CA9C}" srcOrd="0" destOrd="0" parTransId="{A0F550C9-0B7E-4467-B60C-2FE33DB848F1}" sibTransId="{A48D0EC1-8DC2-4E08-8DF7-FD71B3DFA6AD}"/>
    <dgm:cxn modelId="{30843CB4-91B6-4ABA-AF28-673E5347AD6B}" type="presOf" srcId="{F4EA981A-F986-4877-BD25-5C14FE41D176}" destId="{53D8C03D-8A58-4E09-A501-D19238429C1F}" srcOrd="1" destOrd="0" presId="urn:microsoft.com/office/officeart/2005/8/layout/orgChart1"/>
    <dgm:cxn modelId="{538E8D86-06A2-4460-9001-54A51FF9EDA1}" type="presOf" srcId="{CCCD879D-0878-4276-BBBF-ED7DC058AD7B}" destId="{3C19CDE8-1619-435F-BE8B-2AB153E85879}" srcOrd="0" destOrd="0" presId="urn:microsoft.com/office/officeart/2005/8/layout/orgChart1"/>
    <dgm:cxn modelId="{530D27B9-E589-4EDA-814D-470B29164545}" type="presOf" srcId="{93ABD30C-0E7B-486F-A681-9A005A28D744}" destId="{6B26C1DA-C267-4CEE-A825-2498CB5CCDE4}" srcOrd="0" destOrd="0" presId="urn:microsoft.com/office/officeart/2005/8/layout/orgChart1"/>
    <dgm:cxn modelId="{972C5DA5-467C-4E18-9024-442D586C492A}" type="presOf" srcId="{B8408C07-B965-420B-AA4F-EF7BF3626137}" destId="{3529AC6F-214E-4BA5-9ABF-2AAB4904DB2A}" srcOrd="1" destOrd="0" presId="urn:microsoft.com/office/officeart/2005/8/layout/orgChart1"/>
    <dgm:cxn modelId="{57816D1E-B580-47C0-A950-5C5DB86F664B}" srcId="{83E65023-33D0-46DA-A1B3-7F0C7C8C046D}" destId="{DCA969C6-173D-4A46-9BA4-5119AF64DB64}" srcOrd="3" destOrd="0" parTransId="{CCCD879D-0878-4276-BBBF-ED7DC058AD7B}" sibTransId="{FE4AC76F-08FB-47BF-8FF3-FA756FFB418F}"/>
    <dgm:cxn modelId="{3899ED1B-9D68-443F-98EE-F1424383DA49}" type="presOf" srcId="{F29A0D9E-A4D4-4086-BF87-078907F654D3}" destId="{F47BE956-BC37-4E68-8509-835266EF4509}" srcOrd="0" destOrd="0" presId="urn:microsoft.com/office/officeart/2005/8/layout/orgChart1"/>
    <dgm:cxn modelId="{2242DF51-6F3D-46A4-A1A5-04BE8850E38B}" srcId="{83E65023-33D0-46DA-A1B3-7F0C7C8C046D}" destId="{232AA91C-A830-4893-AB0C-E0B807EEE6B2}" srcOrd="1" destOrd="0" parTransId="{1AEE5C21-8809-4BD3-BF4B-96F643A6442C}" sibTransId="{FAB4A523-7091-432C-A10F-E583BE39856A}"/>
    <dgm:cxn modelId="{CA5EC06B-FD6A-498A-81BB-C532886E1AA4}" type="presOf" srcId="{74CFB57A-27E6-492C-AA1E-444AA012A6C4}" destId="{38F6A058-7E48-4D72-99DA-87A83BD6629F}" srcOrd="0" destOrd="0" presId="urn:microsoft.com/office/officeart/2005/8/layout/orgChart1"/>
    <dgm:cxn modelId="{9990CE20-CD65-4E97-9E00-1451F38FFCFD}" srcId="{563B9CF3-40AE-4F6D-9802-FBE29F2DB0FD}" destId="{B983738D-B6CD-4ACC-B021-5D6559383373}" srcOrd="4" destOrd="0" parTransId="{0C80A140-103B-41C0-9712-E50AB27044E3}" sibTransId="{7560B32A-7E95-48CB-8C6D-0F10B90600A1}"/>
    <dgm:cxn modelId="{DDFF64A5-9A67-41E0-87DE-93D03043526E}" type="presOf" srcId="{1ABE179A-0583-4343-B229-7613337F1F01}" destId="{12C49A15-D18B-47B3-9CA0-B40898F9CD50}" srcOrd="1" destOrd="0" presId="urn:microsoft.com/office/officeart/2005/8/layout/orgChart1"/>
    <dgm:cxn modelId="{2D64EC46-84AC-49BC-97DF-0EAD180E1166}" type="presOf" srcId="{4A08814D-C873-480C-BD28-7A65D53F71D8}" destId="{043824C3-24DA-4A30-A957-CD48C867E7EB}" srcOrd="0" destOrd="0" presId="urn:microsoft.com/office/officeart/2005/8/layout/orgChart1"/>
    <dgm:cxn modelId="{C0618F3C-CDAD-4AF4-8A7E-9654ACB60A0B}" type="presOf" srcId="{8AFF9318-8DC2-4264-8170-0C61AAFD79FE}" destId="{C91CBDDB-C61F-488B-86C6-4EEFDF3ED038}" srcOrd="0" destOrd="0" presId="urn:microsoft.com/office/officeart/2005/8/layout/orgChart1"/>
    <dgm:cxn modelId="{2DC5D7E2-9730-4B75-8227-EB18B157EEEA}" srcId="{B983738D-B6CD-4ACC-B021-5D6559383373}" destId="{BC412EB7-C7E5-4551-B509-CA54EA28D57E}" srcOrd="3" destOrd="0" parTransId="{F5AAD115-D470-4475-8607-D5E6FED1948F}" sibTransId="{2179CFA4-B746-49BD-B895-18B8AA8C993C}"/>
    <dgm:cxn modelId="{CF9F5C53-64C6-47BE-AFF7-F4432CD7C18A}" type="presOf" srcId="{F5AAD115-D470-4475-8607-D5E6FED1948F}" destId="{47F1120A-A083-49E8-9E5C-CE1F6413F9BB}" srcOrd="0" destOrd="0" presId="urn:microsoft.com/office/officeart/2005/8/layout/orgChart1"/>
    <dgm:cxn modelId="{0606DEBD-A738-45F8-878E-22E1464A165A}" srcId="{B983738D-B6CD-4ACC-B021-5D6559383373}" destId="{2FEE9ABB-9118-4F89-B57E-5FB3AE26A9DD}" srcOrd="0" destOrd="0" parTransId="{053B73E8-8B63-4D84-B935-856163DE1EFC}" sibTransId="{F9266172-523F-4991-A3D1-6A0955532AA2}"/>
    <dgm:cxn modelId="{28FA69B4-825F-486A-B7F5-D575BB7AAE25}" type="presOf" srcId="{DCA969C6-173D-4A46-9BA4-5119AF64DB64}" destId="{356B3328-D764-40AC-8224-7C581170E4AA}" srcOrd="0" destOrd="0" presId="urn:microsoft.com/office/officeart/2005/8/layout/orgChart1"/>
    <dgm:cxn modelId="{6DF19351-1967-47D2-9594-D7A0CACF4DE0}" type="presOf" srcId="{698692B6-1357-4EE6-9048-DE912A24D330}" destId="{445AE659-5C5A-488F-9D84-8716842FB809}" srcOrd="1" destOrd="0" presId="urn:microsoft.com/office/officeart/2005/8/layout/orgChart1"/>
    <dgm:cxn modelId="{3B64C8D5-F78E-4A47-8838-A552D7DB88DF}" type="presOf" srcId="{A0F550C9-0B7E-4467-B60C-2FE33DB848F1}" destId="{DE7B0CDF-331C-43D7-B14C-4D2214ECC84C}" srcOrd="0" destOrd="0" presId="urn:microsoft.com/office/officeart/2005/8/layout/orgChart1"/>
    <dgm:cxn modelId="{872E4437-13DD-4E1A-80CB-BE2945C31758}" type="presOf" srcId="{70510394-ADAF-4017-9A71-0CDBF70C8053}" destId="{1FF9E9F1-4FED-413C-B9FB-C759F942D31F}" srcOrd="1" destOrd="0" presId="urn:microsoft.com/office/officeart/2005/8/layout/orgChart1"/>
    <dgm:cxn modelId="{75AFB2F3-479B-494C-B247-2CE3D35FC60B}" srcId="{83E65023-33D0-46DA-A1B3-7F0C7C8C046D}" destId="{1E3C57A8-D11A-4464-B252-393BA62CA1A4}" srcOrd="6" destOrd="0" parTransId="{88907CE6-6462-4C5F-8943-6C7E5D76B19C}" sibTransId="{544D910C-A3DC-4303-885C-9D01D7F73DFF}"/>
    <dgm:cxn modelId="{613AAE86-B5DD-4088-B0D0-2BC71FA12781}" type="presOf" srcId="{1E3C57A8-D11A-4464-B252-393BA62CA1A4}" destId="{0A7ECC2D-925A-4A5A-983B-44AA6F0DAF1D}" srcOrd="1" destOrd="0" presId="urn:microsoft.com/office/officeart/2005/8/layout/orgChart1"/>
    <dgm:cxn modelId="{D4BE1830-DD3B-4A30-B329-DF0435D4B99E}" type="presOf" srcId="{F2D49BD6-65DF-42A1-872F-280CCBA4DCCB}" destId="{72ADB7DE-FFDE-43B9-98C0-716921DBE890}" srcOrd="0" destOrd="0" presId="urn:microsoft.com/office/officeart/2005/8/layout/orgChart1"/>
    <dgm:cxn modelId="{4AEB3782-D96A-4B56-8111-AD5B26DA60B7}" type="presOf" srcId="{B8408C07-B965-420B-AA4F-EF7BF3626137}" destId="{82EB6CB6-BC4E-4D4C-A10D-B3680BF7A7D2}" srcOrd="0" destOrd="0" presId="urn:microsoft.com/office/officeart/2005/8/layout/orgChart1"/>
    <dgm:cxn modelId="{00DB17FD-6E48-4E20-96C6-730A56D1B611}" type="presOf" srcId="{83E65023-33D0-46DA-A1B3-7F0C7C8C046D}" destId="{7D987F92-7D35-4143-98F0-7F550C1854D0}" srcOrd="0" destOrd="0" presId="urn:microsoft.com/office/officeart/2005/8/layout/orgChart1"/>
    <dgm:cxn modelId="{A2BD85E1-8BA6-48DC-9938-C4361BFA8344}" type="presOf" srcId="{36F930DE-36A9-4BBF-B0E6-9FDFEF9E53E4}" destId="{AD7D63B9-7467-4870-AB99-425C675F3C72}" srcOrd="1" destOrd="0" presId="urn:microsoft.com/office/officeart/2005/8/layout/orgChart1"/>
    <dgm:cxn modelId="{7B0495A3-A137-4827-9401-8B66BE8E00C2}" srcId="{563B9CF3-40AE-4F6D-9802-FBE29F2DB0FD}" destId="{83E65023-33D0-46DA-A1B3-7F0C7C8C046D}" srcOrd="1" destOrd="0" parTransId="{5BCFE927-CDC4-4421-909F-E280F719A3A5}" sibTransId="{41873B5B-5F5A-4CF2-999E-5FE4C038B5D3}"/>
    <dgm:cxn modelId="{30B781D2-727C-4240-82B8-864A4F196C80}" type="presOf" srcId="{70510394-ADAF-4017-9A71-0CDBF70C8053}" destId="{175ADE88-AD71-4BAF-A40D-557E80A72AF6}" srcOrd="0" destOrd="0" presId="urn:microsoft.com/office/officeart/2005/8/layout/orgChart1"/>
    <dgm:cxn modelId="{CD60D114-1174-4F9F-AB50-CE068219C6B7}" srcId="{B983738D-B6CD-4ACC-B021-5D6559383373}" destId="{9D90A7A5-CCD4-4D01-BA9A-53F4E97656E6}" srcOrd="1" destOrd="0" parTransId="{7F261382-8D87-413A-8D05-DC35E9B459FF}" sibTransId="{07A0BBC8-C2A3-4D84-9311-D7818CBD37BF}"/>
    <dgm:cxn modelId="{85CDF56E-F5BD-458F-8B01-94CB69BCC907}" type="presOf" srcId="{4A273B54-5675-4A36-BC30-269F184B394E}" destId="{F0F62E1F-8929-43B7-BB6A-F1C6E74066B2}" srcOrd="0" destOrd="0" presId="urn:microsoft.com/office/officeart/2005/8/layout/orgChart1"/>
    <dgm:cxn modelId="{C47E15CB-B7A5-4D54-949A-BC4A310F0161}" type="presOf" srcId="{8CE32C3B-0D8F-4350-95E0-06E2647F48A5}" destId="{B991F8E7-E96B-4D05-AE80-B5FE9647EED7}" srcOrd="1" destOrd="0" presId="urn:microsoft.com/office/officeart/2005/8/layout/orgChart1"/>
    <dgm:cxn modelId="{A10F591D-4995-402B-8FE6-D58EFD4115C8}" srcId="{563B9CF3-40AE-4F6D-9802-FBE29F2DB0FD}" destId="{B8408C07-B965-420B-AA4F-EF7BF3626137}" srcOrd="3" destOrd="0" parTransId="{205FFF2B-3A41-4A88-A3BE-31B22C2574A7}" sibTransId="{03C46B23-7DCA-4218-9A55-43725D271667}"/>
    <dgm:cxn modelId="{AC8E730C-8C69-448F-B92F-2EA7F373F84A}" type="presOf" srcId="{4A08814D-C873-480C-BD28-7A65D53F71D8}" destId="{8A5A4975-D139-4DFF-BF92-2C4891FCFD7D}" srcOrd="1" destOrd="0" presId="urn:microsoft.com/office/officeart/2005/8/layout/orgChart1"/>
    <dgm:cxn modelId="{743F7899-4BBB-4EEF-86C9-0967FD1E65A9}" srcId="{E9AADBDC-3898-4643-98BB-93A35F6F1C1F}" destId="{36F930DE-36A9-4BBF-B0E6-9FDFEF9E53E4}" srcOrd="1" destOrd="0" parTransId="{EB2D0AFA-7107-4A7F-B30A-85794C6D48A5}" sibTransId="{D3C4AB0A-4E1C-47C7-BEF5-32E8F3E7149D}"/>
    <dgm:cxn modelId="{EFD6FE5F-A43F-4B35-8B32-88E6299931AB}" srcId="{B983738D-B6CD-4ACC-B021-5D6559383373}" destId="{4A08814D-C873-480C-BD28-7A65D53F71D8}" srcOrd="5" destOrd="0" parTransId="{143F3EEF-62D8-43AD-8063-BA1FD86AC836}" sibTransId="{129A8D46-961B-4A50-B8CF-A0116A842DB6}"/>
    <dgm:cxn modelId="{92E92641-1383-41B8-8E37-1DA605DC6A41}" type="presOf" srcId="{4A273B54-5675-4A36-BC30-269F184B394E}" destId="{B2119018-1591-4A2B-916A-EAC928437B99}" srcOrd="1" destOrd="0" presId="urn:microsoft.com/office/officeart/2005/8/layout/orgChart1"/>
    <dgm:cxn modelId="{5DDC9F3B-075F-492C-8809-FF7BCC98FCA2}" type="presOf" srcId="{E13C7255-99C3-463C-88B3-944FDDEDDCC1}" destId="{81388B3A-C50A-4FAA-BF40-8230A03C9B9A}" srcOrd="1" destOrd="0" presId="urn:microsoft.com/office/officeart/2005/8/layout/orgChart1"/>
    <dgm:cxn modelId="{64955DD5-1AAE-4C11-AB17-636AA0776EDC}" type="presOf" srcId="{60A8C610-33C6-4C13-A76B-645F44A3B723}" destId="{BA812832-9151-4475-AEEE-997AAEA180DD}" srcOrd="0" destOrd="0" presId="urn:microsoft.com/office/officeart/2005/8/layout/orgChart1"/>
    <dgm:cxn modelId="{07B63036-A83B-4ED1-AF43-EAE50938F31D}" type="presOf" srcId="{55C81A84-977C-474F-9898-E3299C72446E}" destId="{B0363488-F9A3-4DD4-BCDF-D8D2C1C53362}" srcOrd="0" destOrd="0" presId="urn:microsoft.com/office/officeart/2005/8/layout/orgChart1"/>
    <dgm:cxn modelId="{133C2F8B-2205-4D82-A49C-08BF37C9CA3D}" srcId="{563B9CF3-40AE-4F6D-9802-FBE29F2DB0FD}" destId="{E9AADBDC-3898-4643-98BB-93A35F6F1C1F}" srcOrd="2" destOrd="0" parTransId="{3CFDB6E9-11D5-4EF0-A84F-588AF277B995}" sibTransId="{F6738647-C183-4A57-A2B7-E23A6AB95EC2}"/>
    <dgm:cxn modelId="{B7A7768F-290C-42BA-91C3-585798C1191B}" type="presOf" srcId="{053B73E8-8B63-4D84-B935-856163DE1EFC}" destId="{E969B95B-BF5F-4C79-8B06-7BB350822E73}" srcOrd="0" destOrd="0" presId="urn:microsoft.com/office/officeart/2005/8/layout/orgChart1"/>
    <dgm:cxn modelId="{2EECA978-17BF-40EF-8FE6-3F0518120FD9}" type="presOf" srcId="{E9AADBDC-3898-4643-98BB-93A35F6F1C1F}" destId="{20A39BFD-AC94-4833-AAAF-948F81E52002}" srcOrd="0" destOrd="0" presId="urn:microsoft.com/office/officeart/2005/8/layout/orgChart1"/>
    <dgm:cxn modelId="{54AEC9C3-FCCD-40D9-AC49-6E99DEFE0C6D}" srcId="{83E65023-33D0-46DA-A1B3-7F0C7C8C046D}" destId="{4D9ED46B-69D1-47A5-8587-425F875E60C9}" srcOrd="0" destOrd="0" parTransId="{58994A76-1B27-43DF-B02F-100B15B3B104}" sibTransId="{22A69CCF-FD75-4E98-B318-DC8302FAB2C0}"/>
    <dgm:cxn modelId="{AA6359FF-4F85-4ED4-8C88-2B1E5DA2435B}" srcId="{E9AADBDC-3898-4643-98BB-93A35F6F1C1F}" destId="{25DBDE9B-DA2B-4E29-B989-575DA86021B8}" srcOrd="0" destOrd="0" parTransId="{3434C784-D2EB-4907-A577-1424C17A4231}" sibTransId="{50EDEB7E-A84B-4457-B895-1CBBC66EB484}"/>
    <dgm:cxn modelId="{74D561FB-AF29-4232-B130-D4E2B00875DD}" type="presOf" srcId="{9D90A7A5-CCD4-4D01-BA9A-53F4E97656E6}" destId="{4803F6AC-2159-4596-8F72-02FB462BBC70}" srcOrd="1" destOrd="0" presId="urn:microsoft.com/office/officeart/2005/8/layout/orgChart1"/>
    <dgm:cxn modelId="{AF9AFC6C-82FB-4384-87D4-9F22F48FC1C5}" type="presOf" srcId="{58994A76-1B27-43DF-B02F-100B15B3B104}" destId="{3B68F40B-CA34-4933-9B66-DF0F8E5E033E}" srcOrd="0" destOrd="0" presId="urn:microsoft.com/office/officeart/2005/8/layout/orgChart1"/>
    <dgm:cxn modelId="{754295CF-0AFD-4100-9135-C92B96C4D782}" type="presOf" srcId="{4CC3869D-EA05-4F15-ABEF-E876B4DF3A97}" destId="{C08C8186-7CE9-48AE-B41B-D881FD3C4D87}" srcOrd="1" destOrd="0" presId="urn:microsoft.com/office/officeart/2005/8/layout/orgChart1"/>
    <dgm:cxn modelId="{9AA86596-4D70-4FD4-B79C-7DCB8D70E98D}" type="presOf" srcId="{85EB6D14-3548-49D4-9B2D-95B6FE3E896E}" destId="{BDA0D309-749C-449A-8DB4-EAF8CCA3E67D}" srcOrd="0" destOrd="0" presId="urn:microsoft.com/office/officeart/2005/8/layout/orgChart1"/>
    <dgm:cxn modelId="{BFE285C2-BBC6-478F-9F0C-18C913053ACC}" type="presOf" srcId="{BC412EB7-C7E5-4551-B509-CA54EA28D57E}" destId="{20731877-7187-429D-B3A8-7DECDA5070FE}" srcOrd="0" destOrd="0" presId="urn:microsoft.com/office/officeart/2005/8/layout/orgChart1"/>
    <dgm:cxn modelId="{C81AB2BC-DE7F-4890-BE78-3435E253C4AE}" type="presOf" srcId="{E9AADBDC-3898-4643-98BB-93A35F6F1C1F}" destId="{0A4B7152-A5C0-4304-B702-BC0C52C9EC39}" srcOrd="1" destOrd="0" presId="urn:microsoft.com/office/officeart/2005/8/layout/orgChart1"/>
    <dgm:cxn modelId="{76CF8405-523C-4AC2-9A11-68153E8674A0}" type="presOf" srcId="{3CFDB6E9-11D5-4EF0-A84F-588AF277B995}" destId="{D0B2D542-C665-4A27-AB65-BE2D43E07D73}" srcOrd="0" destOrd="0" presId="urn:microsoft.com/office/officeart/2005/8/layout/orgChart1"/>
    <dgm:cxn modelId="{2814F37C-D24A-44F6-A865-9CA9133E92C4}" srcId="{B983738D-B6CD-4ACC-B021-5D6559383373}" destId="{E13C7255-99C3-463C-88B3-944FDDEDDCC1}" srcOrd="2" destOrd="0" parTransId="{D9CCD712-DF0C-486C-9EAE-42146F1FF777}" sibTransId="{731F01EC-ADF1-4DB2-8C85-331B10078BC3}"/>
    <dgm:cxn modelId="{B9E689F8-E5BE-438A-8F64-95B223845839}" type="presOf" srcId="{BC412EB7-C7E5-4551-B509-CA54EA28D57E}" destId="{B64ED020-C463-49FF-8094-016150B2A60C}" srcOrd="1" destOrd="0" presId="urn:microsoft.com/office/officeart/2005/8/layout/orgChart1"/>
    <dgm:cxn modelId="{C83FEE71-140B-484A-9964-56D141E2B4B7}" type="presOf" srcId="{B3CDC9F2-1FA6-4E0F-8439-B8268D9B8069}" destId="{96311BE1-6806-4936-A91A-7E842B15BE23}" srcOrd="1" destOrd="0" presId="urn:microsoft.com/office/officeart/2005/8/layout/orgChart1"/>
    <dgm:cxn modelId="{92D42995-8AB4-4222-AE43-CF56712958A1}" type="presOf" srcId="{55C81A84-977C-474F-9898-E3299C72446E}" destId="{C5765A06-B728-4F1F-BEA5-C8B842B28AB3}" srcOrd="1" destOrd="0" presId="urn:microsoft.com/office/officeart/2005/8/layout/orgChart1"/>
    <dgm:cxn modelId="{6AD3CF5A-10F3-453F-9365-B644F44C4A8C}" srcId="{27C0C58C-3A95-4427-952F-34ADD3E4CA9C}" destId="{1ABE179A-0583-4343-B229-7613337F1F01}" srcOrd="3" destOrd="0" parTransId="{A8EDCBF5-48EE-49F5-8B6F-59FB4A586749}" sibTransId="{DBF07675-A5B8-400A-9E2A-E3662E5E1631}"/>
    <dgm:cxn modelId="{302321E3-8C07-4670-85D1-16F167A37FAE}" type="presOf" srcId="{7F261382-8D87-413A-8D05-DC35E9B459FF}" destId="{30D36E63-1B7A-4999-B032-672C2B5B93C8}" srcOrd="0" destOrd="0" presId="urn:microsoft.com/office/officeart/2005/8/layout/orgChart1"/>
    <dgm:cxn modelId="{8E5486E7-CF5D-482C-8B0F-C95CD64C2D2A}" type="presOf" srcId="{B5C8BB55-6EF8-44D3-999A-69265F0E1FBC}" destId="{1B9B1158-72D8-4646-84DD-EF716B116A0C}" srcOrd="0" destOrd="0" presId="urn:microsoft.com/office/officeart/2005/8/layout/orgChart1"/>
    <dgm:cxn modelId="{D01C1139-57FB-4A20-9771-F1DB00505C77}" type="presOf" srcId="{88907CE6-6462-4C5F-8943-6C7E5D76B19C}" destId="{D0A2B68C-81AE-484B-AA25-5AD1DD9964D7}" srcOrd="0" destOrd="0" presId="urn:microsoft.com/office/officeart/2005/8/layout/orgChart1"/>
    <dgm:cxn modelId="{19D485BA-3A07-4762-8298-37C38471E62F}" srcId="{27C0C58C-3A95-4427-952F-34ADD3E4CA9C}" destId="{8AFF9318-8DC2-4264-8170-0C61AAFD79FE}" srcOrd="2" destOrd="0" parTransId="{2536716E-9789-487C-BB4D-6AEC03913F78}" sibTransId="{666101ED-8211-4982-9264-B193DFA3F7F5}"/>
    <dgm:cxn modelId="{D010F3CD-D3F1-463F-A8D9-931C4A395A25}" type="presOf" srcId="{A8A7589E-3DC7-45D1-8F72-BB5B052E3F69}" destId="{8796C872-A8EA-4958-8B94-1C7ED8D2C1E3}" srcOrd="1" destOrd="0" presId="urn:microsoft.com/office/officeart/2005/8/layout/orgChart1"/>
    <dgm:cxn modelId="{81D21665-A194-414F-A62D-7CF69335D23D}" type="presOf" srcId="{44283B74-6908-4E7F-9B11-0AFB346BE0A4}" destId="{A9406A68-DF67-4473-ACC1-B0C98CF9EF57}" srcOrd="1" destOrd="0" presId="urn:microsoft.com/office/officeart/2005/8/layout/orgChart1"/>
    <dgm:cxn modelId="{2C8C894A-A07D-4904-95D1-C54BA9177EDD}" srcId="{E9AADBDC-3898-4643-98BB-93A35F6F1C1F}" destId="{F29A0D9E-A4D4-4086-BF87-078907F654D3}" srcOrd="2" destOrd="0" parTransId="{85F876EE-37BA-45E8-8766-D372D6B5A6B4}" sibTransId="{DD5D082F-12EE-4E5C-86FC-FF114B8B3083}"/>
    <dgm:cxn modelId="{9BBEBECE-4C7A-4D53-B161-3C26740F63C5}" type="presOf" srcId="{8CE32C3B-0D8F-4350-95E0-06E2647F48A5}" destId="{1A8B11D2-3342-43F5-B281-F26FA4BDE16F}" srcOrd="0" destOrd="0" presId="urn:microsoft.com/office/officeart/2005/8/layout/orgChart1"/>
    <dgm:cxn modelId="{B5395BA8-16C5-44C3-84B1-880DF2E7A45C}" type="presOf" srcId="{563B9CF3-40AE-4F6D-9802-FBE29F2DB0FD}" destId="{A9E37B58-C84D-4333-9EB6-FEA63F667BD6}" srcOrd="0" destOrd="0" presId="urn:microsoft.com/office/officeart/2005/8/layout/orgChart1"/>
    <dgm:cxn modelId="{86A4D385-2F22-4BFF-931D-859B87D5FC92}" srcId="{83E65023-33D0-46DA-A1B3-7F0C7C8C046D}" destId="{70510394-ADAF-4017-9A71-0CDBF70C8053}" srcOrd="2" destOrd="0" parTransId="{39A6586C-73CD-4D64-A1FA-DFF0D99B7D4E}" sibTransId="{D94AC2A3-737F-46A2-AC99-71A23D9C4826}"/>
    <dgm:cxn modelId="{9E42F9B0-FA3B-424E-96E5-FB6842016EA0}" srcId="{27C0C58C-3A95-4427-952F-34ADD3E4CA9C}" destId="{55C81A84-977C-474F-9898-E3299C72446E}" srcOrd="5" destOrd="0" parTransId="{85EB6D14-3548-49D4-9B2D-95B6FE3E896E}" sibTransId="{9018FE6B-7938-4F58-8E7C-8780258137CC}"/>
    <dgm:cxn modelId="{619DC831-C278-4544-9CDE-2C231B82F78E}" type="presOf" srcId="{232AA91C-A830-4893-AB0C-E0B807EEE6B2}" destId="{95060CD5-E72B-43E3-AE00-28ED9DE85B01}" srcOrd="0" destOrd="0" presId="urn:microsoft.com/office/officeart/2005/8/layout/orgChart1"/>
    <dgm:cxn modelId="{D7361B50-1C81-4CA8-9E36-D5BB3CAF2CA4}" type="presOf" srcId="{36F930DE-36A9-4BBF-B0E6-9FDFEF9E53E4}" destId="{679AFEB9-1304-4C46-92B9-D14908334993}" srcOrd="0" destOrd="0" presId="urn:microsoft.com/office/officeart/2005/8/layout/orgChart1"/>
    <dgm:cxn modelId="{87C1571D-1F78-4388-90A2-FEE319141527}" type="presOf" srcId="{563B9CF3-40AE-4F6D-9802-FBE29F2DB0FD}" destId="{71995690-C90E-4D6E-B859-E011C699A051}" srcOrd="1" destOrd="0" presId="urn:microsoft.com/office/officeart/2005/8/layout/orgChart1"/>
    <dgm:cxn modelId="{CC48BF82-DF5C-45EF-AE3D-21D748DE9B5C}" type="presOf" srcId="{5BCFE927-CDC4-4421-909F-E280F719A3A5}" destId="{A158FBDA-FE80-481D-A683-1087A6297DF7}" srcOrd="0" destOrd="0" presId="urn:microsoft.com/office/officeart/2005/8/layout/orgChart1"/>
    <dgm:cxn modelId="{AAC0675D-547E-4165-B196-21C934FEEB55}" type="presOf" srcId="{259B2E52-E7E2-4233-88B2-F72E854BF241}" destId="{3DC3783D-00DF-4D73-BC7D-A41DFB3A67B6}" srcOrd="0" destOrd="0" presId="urn:microsoft.com/office/officeart/2005/8/layout/orgChart1"/>
    <dgm:cxn modelId="{2EB11EA1-F2D2-4F03-9505-2C1ED89443FD}" type="presOf" srcId="{4CC3869D-EA05-4F15-ABEF-E876B4DF3A97}" destId="{0E5ADF65-7528-4E6B-A814-7FD4CDCBAEB0}" srcOrd="0" destOrd="0" presId="urn:microsoft.com/office/officeart/2005/8/layout/orgChart1"/>
    <dgm:cxn modelId="{6F17BD7F-6293-4546-BBC3-3E6707A14184}" type="presOf" srcId="{B3CDC9F2-1FA6-4E0F-8439-B8268D9B8069}" destId="{F2BD23BC-2E0A-441B-BE28-E14725F51793}" srcOrd="0" destOrd="0" presId="urn:microsoft.com/office/officeart/2005/8/layout/orgChart1"/>
    <dgm:cxn modelId="{D5BEF9F0-CA14-4245-AF76-AA1EDD37020C}" srcId="{27C0C58C-3A95-4427-952F-34ADD3E4CA9C}" destId="{A8A7589E-3DC7-45D1-8F72-BB5B052E3F69}" srcOrd="1" destOrd="0" parTransId="{A4FDCB02-4C5E-4D69-833B-37E08536214A}" sibTransId="{8F84F8C6-91B2-45A5-90E5-6C25B3D5C642}"/>
    <dgm:cxn modelId="{71C36661-37CF-45FB-8845-C625C476DDC4}" type="presOf" srcId="{B9768B53-8850-4D94-B15A-B424BE92EB7A}" destId="{15BFC48D-BBC2-4AA7-84DF-E08D387E4BEE}" srcOrd="0" destOrd="0" presId="urn:microsoft.com/office/officeart/2005/8/layout/orgChart1"/>
    <dgm:cxn modelId="{9D9EC79B-12DD-47B8-BAEE-090FF457330A}" type="presOf" srcId="{8AFF9318-8DC2-4264-8170-0C61AAFD79FE}" destId="{525B76B5-0D3D-477C-878E-708A48609BDE}" srcOrd="1" destOrd="0" presId="urn:microsoft.com/office/officeart/2005/8/layout/orgChart1"/>
    <dgm:cxn modelId="{D8585CF5-DB32-4B6C-B6B1-D8B38B8BD04B}" type="presOf" srcId="{27C0C58C-3A95-4427-952F-34ADD3E4CA9C}" destId="{5C9EBB69-F299-433C-9832-400183B089DB}" srcOrd="0" destOrd="0" presId="urn:microsoft.com/office/officeart/2005/8/layout/orgChart1"/>
    <dgm:cxn modelId="{24816A1C-78BF-4724-8B90-C8E3AF5B7BC7}" type="presOf" srcId="{83E65023-33D0-46DA-A1B3-7F0C7C8C046D}" destId="{00704EBE-B448-41C3-9648-6FB2DE06439D}" srcOrd="1" destOrd="0" presId="urn:microsoft.com/office/officeart/2005/8/layout/orgChart1"/>
    <dgm:cxn modelId="{2FD0249A-722E-453B-862E-DC1CDD976D28}" type="presOf" srcId="{9A7E722F-D005-476C-8D43-4076AB9F30B1}" destId="{EC6C2DB6-0354-41F7-B81C-792F0FA9A4EE}" srcOrd="0" destOrd="0" presId="urn:microsoft.com/office/officeart/2005/8/layout/orgChart1"/>
    <dgm:cxn modelId="{E262D2DD-FF85-49C4-B13E-BE1172AB56AE}" srcId="{83E65023-33D0-46DA-A1B3-7F0C7C8C046D}" destId="{4CC3869D-EA05-4F15-ABEF-E876B4DF3A97}" srcOrd="4" destOrd="0" parTransId="{60A8C610-33C6-4C13-A76B-645F44A3B723}" sibTransId="{062AB4E3-8430-4023-A667-0AA14B259536}"/>
    <dgm:cxn modelId="{94F2FAFB-A78D-4B19-A25C-E51278E79846}" type="presOf" srcId="{A4FDCB02-4C5E-4D69-833B-37E08536214A}" destId="{7AA3C3BF-7366-4C82-8833-2DCCDBBFBA6C}" srcOrd="0" destOrd="0" presId="urn:microsoft.com/office/officeart/2005/8/layout/orgChart1"/>
    <dgm:cxn modelId="{26FAE11F-3316-445A-B2FB-3EC07C88B407}" type="presOf" srcId="{25DBDE9B-DA2B-4E29-B989-575DA86021B8}" destId="{F0663EE5-7143-42B2-A6AE-F82AA7D88908}" srcOrd="0" destOrd="0" presId="urn:microsoft.com/office/officeart/2005/8/layout/orgChart1"/>
    <dgm:cxn modelId="{9780CBE0-A2E5-42CE-BB31-2FD83295DCC3}" type="presOf" srcId="{3434C784-D2EB-4907-A577-1424C17A4231}" destId="{9233F8A3-3DD8-405A-B709-2177E2199FEB}" srcOrd="0" destOrd="0" presId="urn:microsoft.com/office/officeart/2005/8/layout/orgChart1"/>
    <dgm:cxn modelId="{E321DB3D-8F31-4D2A-BF99-AD827AB8A596}" type="presOf" srcId="{DCA969C6-173D-4A46-9BA4-5119AF64DB64}" destId="{E93C2A34-A97C-4508-A88F-51D5DA31D8C2}" srcOrd="1" destOrd="0" presId="urn:microsoft.com/office/officeart/2005/8/layout/orgChart1"/>
    <dgm:cxn modelId="{334EE31D-4C66-4853-A535-B6C44D433DD0}" type="presOf" srcId="{B983738D-B6CD-4ACC-B021-5D6559383373}" destId="{1E0CCDDD-DA94-48AA-9AF2-605E42E813DB}" srcOrd="1" destOrd="0" presId="urn:microsoft.com/office/officeart/2005/8/layout/orgChart1"/>
    <dgm:cxn modelId="{2C4F3263-ECD5-4A3A-8006-AD922C48EBA6}" type="presOf" srcId="{F29A0D9E-A4D4-4086-BF87-078907F654D3}" destId="{0061E253-07A5-4060-9D9C-063107019FC0}" srcOrd="1" destOrd="0" presId="urn:microsoft.com/office/officeart/2005/8/layout/orgChart1"/>
    <dgm:cxn modelId="{EC029F50-ED95-4ED4-8034-5F4A56AC547D}" type="presOf" srcId="{39A6586C-73CD-4D64-A1FA-DFF0D99B7D4E}" destId="{D20E2316-F1C9-4B58-809C-37D7B49498A8}" srcOrd="0" destOrd="0" presId="urn:microsoft.com/office/officeart/2005/8/layout/orgChart1"/>
    <dgm:cxn modelId="{9A1D0758-5841-433E-8EEC-5975248E5242}" type="presOf" srcId="{44283B74-6908-4E7F-9B11-0AFB346BE0A4}" destId="{93FCE660-DDC3-4AB5-B916-99CEE63A83BE}" srcOrd="0" destOrd="0" presId="urn:microsoft.com/office/officeart/2005/8/layout/orgChart1"/>
    <dgm:cxn modelId="{283E295D-081C-4040-8A51-2B21982470D6}" srcId="{B983738D-B6CD-4ACC-B021-5D6559383373}" destId="{44283B74-6908-4E7F-9B11-0AFB346BE0A4}" srcOrd="6" destOrd="0" parTransId="{6C962E12-A7E7-4DBA-B1EE-60065B1DDA80}" sibTransId="{E875A126-A25B-4CD6-A40C-FEDBC81D9ECC}"/>
    <dgm:cxn modelId="{8D1B1EB3-1BA4-4405-95B6-2600469B5838}" type="presOf" srcId="{8022EEFC-19A3-4AF2-888C-321CE5B24E4C}" destId="{2AC042F1-67EC-4815-A747-C27DA26D9618}" srcOrd="0" destOrd="0" presId="urn:microsoft.com/office/officeart/2005/8/layout/orgChart1"/>
    <dgm:cxn modelId="{881D4CFC-8FC2-4EB3-9582-14ADA8370DEE}" type="presOf" srcId="{1E3C57A8-D11A-4464-B252-393BA62CA1A4}" destId="{3AE77575-B618-4540-A5D3-713314C05524}" srcOrd="0" destOrd="0" presId="urn:microsoft.com/office/officeart/2005/8/layout/orgChart1"/>
    <dgm:cxn modelId="{0F4674F9-D005-40C9-B531-F221C97655CF}" srcId="{27C0C58C-3A95-4427-952F-34ADD3E4CA9C}" destId="{9A7E722F-D005-476C-8D43-4076AB9F30B1}" srcOrd="0" destOrd="0" parTransId="{F2D49BD6-65DF-42A1-872F-280CCBA4DCCB}" sibTransId="{E9B0E5CE-4B6A-49EA-81F0-70936ACBEAC6}"/>
    <dgm:cxn modelId="{78B72718-A08A-4246-9F9C-8723107E396D}" type="presOf" srcId="{1ABE179A-0583-4343-B229-7613337F1F01}" destId="{4F5D1301-39C3-4858-B8EF-E38A066270C0}" srcOrd="0" destOrd="0" presId="urn:microsoft.com/office/officeart/2005/8/layout/orgChart1"/>
    <dgm:cxn modelId="{8A65B98B-160B-4BBA-B57D-BE2EDF8D11CF}" srcId="{B8408C07-B965-420B-AA4F-EF7BF3626137}" destId="{F4EA981A-F986-4877-BD25-5C14FE41D176}" srcOrd="0" destOrd="0" parTransId="{259B2E52-E7E2-4233-88B2-F72E854BF241}" sibTransId="{1F6D5CE7-832A-4E64-B338-FC127EF3F3A6}"/>
    <dgm:cxn modelId="{0EB6A7D0-4FAF-4F87-A4C9-92DFF4504BA2}" type="presOf" srcId="{2536716E-9789-487C-BB4D-6AEC03913F78}" destId="{64E373CE-42B0-47C0-B6D5-3083549CC155}" srcOrd="0" destOrd="0" presId="urn:microsoft.com/office/officeart/2005/8/layout/orgChart1"/>
    <dgm:cxn modelId="{378CCE8E-CCD6-4B16-9F72-E47BE516F1D7}" type="presOf" srcId="{698692B6-1357-4EE6-9048-DE912A24D330}" destId="{9E15D32B-A159-4B43-91E5-E167856E33BF}" srcOrd="0" destOrd="0" presId="urn:microsoft.com/office/officeart/2005/8/layout/orgChart1"/>
    <dgm:cxn modelId="{98502FAC-7215-4004-A23B-EC87E290ACE7}" type="presOf" srcId="{CBD5489F-E4C0-487E-8E70-409B6544C7FE}" destId="{5FD6F4FB-DDB8-4ECF-B98C-0BEC42938CD3}" srcOrd="0" destOrd="0" presId="urn:microsoft.com/office/officeart/2005/8/layout/orgChart1"/>
    <dgm:cxn modelId="{DEA4FAC5-E4F9-4140-8A9B-F75DB15B8AE0}" type="presParOf" srcId="{2AC042F1-67EC-4815-A747-C27DA26D9618}" destId="{FB279467-F3D0-4A2A-9DFD-7DF66D00DCAB}" srcOrd="0" destOrd="0" presId="urn:microsoft.com/office/officeart/2005/8/layout/orgChart1"/>
    <dgm:cxn modelId="{D78BB9CF-2E85-42CC-B6A9-FFDB8711851F}" type="presParOf" srcId="{FB279467-F3D0-4A2A-9DFD-7DF66D00DCAB}" destId="{EA635651-E5EE-4B65-A430-C8E1B4EEAABF}" srcOrd="0" destOrd="0" presId="urn:microsoft.com/office/officeart/2005/8/layout/orgChart1"/>
    <dgm:cxn modelId="{0334963E-8DA6-4C57-A5B5-D5D9FF544949}" type="presParOf" srcId="{EA635651-E5EE-4B65-A430-C8E1B4EEAABF}" destId="{A9E37B58-C84D-4333-9EB6-FEA63F667BD6}" srcOrd="0" destOrd="0" presId="urn:microsoft.com/office/officeart/2005/8/layout/orgChart1"/>
    <dgm:cxn modelId="{A62C1A14-9F10-46D8-8075-D87E8C886A51}" type="presParOf" srcId="{EA635651-E5EE-4B65-A430-C8E1B4EEAABF}" destId="{71995690-C90E-4D6E-B859-E011C699A051}" srcOrd="1" destOrd="0" presId="urn:microsoft.com/office/officeart/2005/8/layout/orgChart1"/>
    <dgm:cxn modelId="{FD9730DC-1DE5-4FC6-8912-C6D6D8BC3A0C}" type="presParOf" srcId="{FB279467-F3D0-4A2A-9DFD-7DF66D00DCAB}" destId="{066E69C0-C6CF-4B2F-9503-59BB14177765}" srcOrd="1" destOrd="0" presId="urn:microsoft.com/office/officeart/2005/8/layout/orgChart1"/>
    <dgm:cxn modelId="{351B4CCA-16C4-43BB-A1D8-6A9C48A42442}" type="presParOf" srcId="{066E69C0-C6CF-4B2F-9503-59BB14177765}" destId="{DE7B0CDF-331C-43D7-B14C-4D2214ECC84C}" srcOrd="0" destOrd="0" presId="urn:microsoft.com/office/officeart/2005/8/layout/orgChart1"/>
    <dgm:cxn modelId="{147B4D8A-1E5A-4D95-A1DB-B00284CA309B}" type="presParOf" srcId="{066E69C0-C6CF-4B2F-9503-59BB14177765}" destId="{E95E3131-A08A-43F9-AFEC-504F1171E205}" srcOrd="1" destOrd="0" presId="urn:microsoft.com/office/officeart/2005/8/layout/orgChart1"/>
    <dgm:cxn modelId="{FE4B8AC7-CFD4-4DE9-BF1C-D09E506C5200}" type="presParOf" srcId="{E95E3131-A08A-43F9-AFEC-504F1171E205}" destId="{EFC54E5C-7C6E-422C-87D3-57DFC09957EE}" srcOrd="0" destOrd="0" presId="urn:microsoft.com/office/officeart/2005/8/layout/orgChart1"/>
    <dgm:cxn modelId="{6CD3395C-6C1E-4F29-9482-B471DFA5DFBA}" type="presParOf" srcId="{EFC54E5C-7C6E-422C-87D3-57DFC09957EE}" destId="{5C9EBB69-F299-433C-9832-400183B089DB}" srcOrd="0" destOrd="0" presId="urn:microsoft.com/office/officeart/2005/8/layout/orgChart1"/>
    <dgm:cxn modelId="{E9ADB137-A87E-4C14-B958-F390407383B6}" type="presParOf" srcId="{EFC54E5C-7C6E-422C-87D3-57DFC09957EE}" destId="{5658B9D7-A9F2-4897-B0C6-17D9C45E1BD9}" srcOrd="1" destOrd="0" presId="urn:microsoft.com/office/officeart/2005/8/layout/orgChart1"/>
    <dgm:cxn modelId="{C013994A-7DCC-48EF-958C-1B0C48305125}" type="presParOf" srcId="{E95E3131-A08A-43F9-AFEC-504F1171E205}" destId="{3920BFA3-AC5C-4424-ACD7-7E148C18359E}" srcOrd="1" destOrd="0" presId="urn:microsoft.com/office/officeart/2005/8/layout/orgChart1"/>
    <dgm:cxn modelId="{097B1928-CBA0-42FB-A0DA-CDBF68AD267E}" type="presParOf" srcId="{3920BFA3-AC5C-4424-ACD7-7E148C18359E}" destId="{72ADB7DE-FFDE-43B9-98C0-716921DBE890}" srcOrd="0" destOrd="0" presId="urn:microsoft.com/office/officeart/2005/8/layout/orgChart1"/>
    <dgm:cxn modelId="{CFD0EB9D-0F84-4788-B2EE-28A21EB40F76}" type="presParOf" srcId="{3920BFA3-AC5C-4424-ACD7-7E148C18359E}" destId="{E8072A26-277D-405E-9401-0A1FDF34E5D4}" srcOrd="1" destOrd="0" presId="urn:microsoft.com/office/officeart/2005/8/layout/orgChart1"/>
    <dgm:cxn modelId="{87CD5833-7AB0-4E47-839A-80B4FD628EAC}" type="presParOf" srcId="{E8072A26-277D-405E-9401-0A1FDF34E5D4}" destId="{27EF17A1-D922-409F-996E-C9E02B5875EB}" srcOrd="0" destOrd="0" presId="urn:microsoft.com/office/officeart/2005/8/layout/orgChart1"/>
    <dgm:cxn modelId="{84EA768C-1277-4570-9CB2-51A3B434095A}" type="presParOf" srcId="{27EF17A1-D922-409F-996E-C9E02B5875EB}" destId="{EC6C2DB6-0354-41F7-B81C-792F0FA9A4EE}" srcOrd="0" destOrd="0" presId="urn:microsoft.com/office/officeart/2005/8/layout/orgChart1"/>
    <dgm:cxn modelId="{E5A29D67-B878-4349-9D98-4902BD1962F9}" type="presParOf" srcId="{27EF17A1-D922-409F-996E-C9E02B5875EB}" destId="{9F604B41-DE7E-407E-92F7-E7B8863509DE}" srcOrd="1" destOrd="0" presId="urn:microsoft.com/office/officeart/2005/8/layout/orgChart1"/>
    <dgm:cxn modelId="{DC9CD9C7-0491-404B-A908-7A7C9B61B8BF}" type="presParOf" srcId="{E8072A26-277D-405E-9401-0A1FDF34E5D4}" destId="{6B1B8A2D-6C96-402C-A168-3E6AD553B535}" srcOrd="1" destOrd="0" presId="urn:microsoft.com/office/officeart/2005/8/layout/orgChart1"/>
    <dgm:cxn modelId="{4A9E16A4-B95A-445C-8B5D-7AC85F56012A}" type="presParOf" srcId="{E8072A26-277D-405E-9401-0A1FDF34E5D4}" destId="{70FA8FA6-36C6-4FE0-B3C4-A8596AFC4EDF}" srcOrd="2" destOrd="0" presId="urn:microsoft.com/office/officeart/2005/8/layout/orgChart1"/>
    <dgm:cxn modelId="{39957B91-6EE7-47BE-8C93-242977405342}" type="presParOf" srcId="{3920BFA3-AC5C-4424-ACD7-7E148C18359E}" destId="{7AA3C3BF-7366-4C82-8833-2DCCDBBFBA6C}" srcOrd="2" destOrd="0" presId="urn:microsoft.com/office/officeart/2005/8/layout/orgChart1"/>
    <dgm:cxn modelId="{4D8A43F6-BEA7-4E8E-BF77-4A49004A5834}" type="presParOf" srcId="{3920BFA3-AC5C-4424-ACD7-7E148C18359E}" destId="{4DB7F4F7-B590-4810-AFCD-926FDA6D38D2}" srcOrd="3" destOrd="0" presId="urn:microsoft.com/office/officeart/2005/8/layout/orgChart1"/>
    <dgm:cxn modelId="{363DD03F-C705-4521-B28C-F6F9470E43B5}" type="presParOf" srcId="{4DB7F4F7-B590-4810-AFCD-926FDA6D38D2}" destId="{F997AD31-44BF-407F-82C8-B18CE0D7FD2C}" srcOrd="0" destOrd="0" presId="urn:microsoft.com/office/officeart/2005/8/layout/orgChart1"/>
    <dgm:cxn modelId="{799CC879-A455-4128-A17D-1D7B563DCE2E}" type="presParOf" srcId="{F997AD31-44BF-407F-82C8-B18CE0D7FD2C}" destId="{CF73B623-D36E-4A4E-8B66-62BC3E50EC0C}" srcOrd="0" destOrd="0" presId="urn:microsoft.com/office/officeart/2005/8/layout/orgChart1"/>
    <dgm:cxn modelId="{F9979FEC-ED92-42EB-B5F1-13CD72E6B9FD}" type="presParOf" srcId="{F997AD31-44BF-407F-82C8-B18CE0D7FD2C}" destId="{8796C872-A8EA-4958-8B94-1C7ED8D2C1E3}" srcOrd="1" destOrd="0" presId="urn:microsoft.com/office/officeart/2005/8/layout/orgChart1"/>
    <dgm:cxn modelId="{0B0B34DA-3962-4239-9B04-D3B6899C76AC}" type="presParOf" srcId="{4DB7F4F7-B590-4810-AFCD-926FDA6D38D2}" destId="{8247ED97-294F-4CED-A2D7-172130BF8306}" srcOrd="1" destOrd="0" presId="urn:microsoft.com/office/officeart/2005/8/layout/orgChart1"/>
    <dgm:cxn modelId="{5F466A8D-3D1A-4747-AC23-24ABBC5A0BED}" type="presParOf" srcId="{4DB7F4F7-B590-4810-AFCD-926FDA6D38D2}" destId="{BD0FFB1E-CC85-40D5-9579-426945FCD951}" srcOrd="2" destOrd="0" presId="urn:microsoft.com/office/officeart/2005/8/layout/orgChart1"/>
    <dgm:cxn modelId="{99CBB894-90F2-462D-9EAA-75D40F20020F}" type="presParOf" srcId="{3920BFA3-AC5C-4424-ACD7-7E148C18359E}" destId="{64E373CE-42B0-47C0-B6D5-3083549CC155}" srcOrd="4" destOrd="0" presId="urn:microsoft.com/office/officeart/2005/8/layout/orgChart1"/>
    <dgm:cxn modelId="{E25ABA0E-769A-4636-82B8-51A8BC193448}" type="presParOf" srcId="{3920BFA3-AC5C-4424-ACD7-7E148C18359E}" destId="{B2DE522B-C279-4F9A-8567-5E139FFF9E79}" srcOrd="5" destOrd="0" presId="urn:microsoft.com/office/officeart/2005/8/layout/orgChart1"/>
    <dgm:cxn modelId="{0B0F3695-FAAF-4139-BE15-0F2C17030420}" type="presParOf" srcId="{B2DE522B-C279-4F9A-8567-5E139FFF9E79}" destId="{D9C66C32-12B4-4491-ABA3-34335757DC65}" srcOrd="0" destOrd="0" presId="urn:microsoft.com/office/officeart/2005/8/layout/orgChart1"/>
    <dgm:cxn modelId="{293A026C-8C07-402B-9F3B-A2A818206D47}" type="presParOf" srcId="{D9C66C32-12B4-4491-ABA3-34335757DC65}" destId="{C91CBDDB-C61F-488B-86C6-4EEFDF3ED038}" srcOrd="0" destOrd="0" presId="urn:microsoft.com/office/officeart/2005/8/layout/orgChart1"/>
    <dgm:cxn modelId="{89F602DD-E144-444C-BE7F-BDDAF310053D}" type="presParOf" srcId="{D9C66C32-12B4-4491-ABA3-34335757DC65}" destId="{525B76B5-0D3D-477C-878E-708A48609BDE}" srcOrd="1" destOrd="0" presId="urn:microsoft.com/office/officeart/2005/8/layout/orgChart1"/>
    <dgm:cxn modelId="{B61B5B3A-91EC-4FCC-A92B-C0429FF779D3}" type="presParOf" srcId="{B2DE522B-C279-4F9A-8567-5E139FFF9E79}" destId="{1D24CB5B-0B33-42B2-BE9D-B19A07219F23}" srcOrd="1" destOrd="0" presId="urn:microsoft.com/office/officeart/2005/8/layout/orgChart1"/>
    <dgm:cxn modelId="{ADD25937-A51C-4B3D-AE1A-95D196540252}" type="presParOf" srcId="{B2DE522B-C279-4F9A-8567-5E139FFF9E79}" destId="{DA442CD6-0426-4B98-A495-C55DA5A51AA4}" srcOrd="2" destOrd="0" presId="urn:microsoft.com/office/officeart/2005/8/layout/orgChart1"/>
    <dgm:cxn modelId="{BE6047F2-182A-419A-8A29-4AEA285D4D17}" type="presParOf" srcId="{3920BFA3-AC5C-4424-ACD7-7E148C18359E}" destId="{074B3E2F-8466-4A4D-AA59-72F2C06F9895}" srcOrd="6" destOrd="0" presId="urn:microsoft.com/office/officeart/2005/8/layout/orgChart1"/>
    <dgm:cxn modelId="{1C7FD132-2896-41B8-AB3A-8C03016BBD33}" type="presParOf" srcId="{3920BFA3-AC5C-4424-ACD7-7E148C18359E}" destId="{DF2F653D-344D-4FB8-9BFE-4632037A3E7B}" srcOrd="7" destOrd="0" presId="urn:microsoft.com/office/officeart/2005/8/layout/orgChart1"/>
    <dgm:cxn modelId="{1AA1A1FB-65C6-452A-9181-E789CF7A9CFB}" type="presParOf" srcId="{DF2F653D-344D-4FB8-9BFE-4632037A3E7B}" destId="{3B7E9630-24E8-4128-BFD5-188170612569}" srcOrd="0" destOrd="0" presId="urn:microsoft.com/office/officeart/2005/8/layout/orgChart1"/>
    <dgm:cxn modelId="{749BF3B0-EB1C-405D-AF91-B326E5F50427}" type="presParOf" srcId="{3B7E9630-24E8-4128-BFD5-188170612569}" destId="{4F5D1301-39C3-4858-B8EF-E38A066270C0}" srcOrd="0" destOrd="0" presId="urn:microsoft.com/office/officeart/2005/8/layout/orgChart1"/>
    <dgm:cxn modelId="{FB64CEB1-125B-438E-8702-71B7EDE61E5A}" type="presParOf" srcId="{3B7E9630-24E8-4128-BFD5-188170612569}" destId="{12C49A15-D18B-47B3-9CA0-B40898F9CD50}" srcOrd="1" destOrd="0" presId="urn:microsoft.com/office/officeart/2005/8/layout/orgChart1"/>
    <dgm:cxn modelId="{D0D37B9A-CCBC-4C8B-AC8B-D951D6E5BB2E}" type="presParOf" srcId="{DF2F653D-344D-4FB8-9BFE-4632037A3E7B}" destId="{9C37565E-D11F-45BD-B816-20381F060AB1}" srcOrd="1" destOrd="0" presId="urn:microsoft.com/office/officeart/2005/8/layout/orgChart1"/>
    <dgm:cxn modelId="{0C5CC599-F33C-419F-85EC-7A796816CB4E}" type="presParOf" srcId="{DF2F653D-344D-4FB8-9BFE-4632037A3E7B}" destId="{9C5018E2-8307-4E3E-9044-45319D51FA9F}" srcOrd="2" destOrd="0" presId="urn:microsoft.com/office/officeart/2005/8/layout/orgChart1"/>
    <dgm:cxn modelId="{558C1CF5-324E-4A88-BF65-7BCA585E9618}" type="presParOf" srcId="{3920BFA3-AC5C-4424-ACD7-7E148C18359E}" destId="{38F6A058-7E48-4D72-99DA-87A83BD6629F}" srcOrd="8" destOrd="0" presId="urn:microsoft.com/office/officeart/2005/8/layout/orgChart1"/>
    <dgm:cxn modelId="{31883D15-2ADF-4449-A30E-99DFA2AD6F8A}" type="presParOf" srcId="{3920BFA3-AC5C-4424-ACD7-7E148C18359E}" destId="{D552FDEE-5469-4891-8FDB-8AD5896678B3}" srcOrd="9" destOrd="0" presId="urn:microsoft.com/office/officeart/2005/8/layout/orgChart1"/>
    <dgm:cxn modelId="{C6997C51-15DE-424B-8F62-4A85B6F6EE24}" type="presParOf" srcId="{D552FDEE-5469-4891-8FDB-8AD5896678B3}" destId="{EF6AA7E8-3D3B-43C8-89E5-4F4F5DFCF6B9}" srcOrd="0" destOrd="0" presId="urn:microsoft.com/office/officeart/2005/8/layout/orgChart1"/>
    <dgm:cxn modelId="{20707771-2E4D-47AF-889B-B462BDFF8101}" type="presParOf" srcId="{EF6AA7E8-3D3B-43C8-89E5-4F4F5DFCF6B9}" destId="{F2BD23BC-2E0A-441B-BE28-E14725F51793}" srcOrd="0" destOrd="0" presId="urn:microsoft.com/office/officeart/2005/8/layout/orgChart1"/>
    <dgm:cxn modelId="{2E83E010-70C3-4792-A8A4-89DD56E76908}" type="presParOf" srcId="{EF6AA7E8-3D3B-43C8-89E5-4F4F5DFCF6B9}" destId="{96311BE1-6806-4936-A91A-7E842B15BE23}" srcOrd="1" destOrd="0" presId="urn:microsoft.com/office/officeart/2005/8/layout/orgChart1"/>
    <dgm:cxn modelId="{4A5DAB3B-2C6F-469C-99D7-E81D3FE00B61}" type="presParOf" srcId="{D552FDEE-5469-4891-8FDB-8AD5896678B3}" destId="{EFD1A3F8-F679-4BFE-A96D-BBA1B8F7E28E}" srcOrd="1" destOrd="0" presId="urn:microsoft.com/office/officeart/2005/8/layout/orgChart1"/>
    <dgm:cxn modelId="{4881DD35-A976-4DE8-AB47-74E547C11C05}" type="presParOf" srcId="{D552FDEE-5469-4891-8FDB-8AD5896678B3}" destId="{E1434C1B-93F4-4F85-BF3F-2674BA9F6695}" srcOrd="2" destOrd="0" presId="urn:microsoft.com/office/officeart/2005/8/layout/orgChart1"/>
    <dgm:cxn modelId="{EACF1E1D-5248-4D5C-A1E8-9919E4BCD665}" type="presParOf" srcId="{3920BFA3-AC5C-4424-ACD7-7E148C18359E}" destId="{BDA0D309-749C-449A-8DB4-EAF8CCA3E67D}" srcOrd="10" destOrd="0" presId="urn:microsoft.com/office/officeart/2005/8/layout/orgChart1"/>
    <dgm:cxn modelId="{0BCF345C-9162-4E10-87DF-1EF541E420FA}" type="presParOf" srcId="{3920BFA3-AC5C-4424-ACD7-7E148C18359E}" destId="{887C9540-28D2-46DA-9258-D87AD3C70C71}" srcOrd="11" destOrd="0" presId="urn:microsoft.com/office/officeart/2005/8/layout/orgChart1"/>
    <dgm:cxn modelId="{739C6FE9-AAA0-422C-AFDB-FB23EF5A3BBC}" type="presParOf" srcId="{887C9540-28D2-46DA-9258-D87AD3C70C71}" destId="{DB86626F-20CE-47FA-8B7A-1062024CD376}" srcOrd="0" destOrd="0" presId="urn:microsoft.com/office/officeart/2005/8/layout/orgChart1"/>
    <dgm:cxn modelId="{3C25C187-F133-483E-B2C0-E934458CAB7F}" type="presParOf" srcId="{DB86626F-20CE-47FA-8B7A-1062024CD376}" destId="{B0363488-F9A3-4DD4-BCDF-D8D2C1C53362}" srcOrd="0" destOrd="0" presId="urn:microsoft.com/office/officeart/2005/8/layout/orgChart1"/>
    <dgm:cxn modelId="{5D6E440B-3D72-4D51-B9F8-47E4F61EC8F2}" type="presParOf" srcId="{DB86626F-20CE-47FA-8B7A-1062024CD376}" destId="{C5765A06-B728-4F1F-BEA5-C8B842B28AB3}" srcOrd="1" destOrd="0" presId="urn:microsoft.com/office/officeart/2005/8/layout/orgChart1"/>
    <dgm:cxn modelId="{5F935615-C3A8-47E0-874E-AC02FBFF1585}" type="presParOf" srcId="{887C9540-28D2-46DA-9258-D87AD3C70C71}" destId="{B419F9A7-6256-4C2F-878E-B82AE2CBC9A9}" srcOrd="1" destOrd="0" presId="urn:microsoft.com/office/officeart/2005/8/layout/orgChart1"/>
    <dgm:cxn modelId="{600204C2-1777-4511-9C42-75475D22CB1A}" type="presParOf" srcId="{887C9540-28D2-46DA-9258-D87AD3C70C71}" destId="{141235EF-2547-4156-9A49-E8377A75F5CA}" srcOrd="2" destOrd="0" presId="urn:microsoft.com/office/officeart/2005/8/layout/orgChart1"/>
    <dgm:cxn modelId="{FB1E8C35-ED07-43E7-ABAB-25BBC429AC4C}" type="presParOf" srcId="{E95E3131-A08A-43F9-AFEC-504F1171E205}" destId="{110B8CA0-C5B1-4088-832E-968B3904855E}" srcOrd="2" destOrd="0" presId="urn:microsoft.com/office/officeart/2005/8/layout/orgChart1"/>
    <dgm:cxn modelId="{2BA0C315-4003-47F1-8680-6D85F87C9425}" type="presParOf" srcId="{066E69C0-C6CF-4B2F-9503-59BB14177765}" destId="{A158FBDA-FE80-481D-A683-1087A6297DF7}" srcOrd="2" destOrd="0" presId="urn:microsoft.com/office/officeart/2005/8/layout/orgChart1"/>
    <dgm:cxn modelId="{80131614-CF68-411D-8E74-E055B6BE4B33}" type="presParOf" srcId="{066E69C0-C6CF-4B2F-9503-59BB14177765}" destId="{7B7F4A61-44AD-4660-A004-E01D74CB3993}" srcOrd="3" destOrd="0" presId="urn:microsoft.com/office/officeart/2005/8/layout/orgChart1"/>
    <dgm:cxn modelId="{964B304B-CDB0-4AFD-90C5-C4A1B0DAA001}" type="presParOf" srcId="{7B7F4A61-44AD-4660-A004-E01D74CB3993}" destId="{C1C1659C-40C8-4D06-88CD-8B4E382A7FA3}" srcOrd="0" destOrd="0" presId="urn:microsoft.com/office/officeart/2005/8/layout/orgChart1"/>
    <dgm:cxn modelId="{2382EC5A-034D-4E8D-AEFC-15E231A6E6C4}" type="presParOf" srcId="{C1C1659C-40C8-4D06-88CD-8B4E382A7FA3}" destId="{7D987F92-7D35-4143-98F0-7F550C1854D0}" srcOrd="0" destOrd="0" presId="urn:microsoft.com/office/officeart/2005/8/layout/orgChart1"/>
    <dgm:cxn modelId="{E87817EF-1EFE-4BCC-9AC2-D542C593C6D6}" type="presParOf" srcId="{C1C1659C-40C8-4D06-88CD-8B4E382A7FA3}" destId="{00704EBE-B448-41C3-9648-6FB2DE06439D}" srcOrd="1" destOrd="0" presId="urn:microsoft.com/office/officeart/2005/8/layout/orgChart1"/>
    <dgm:cxn modelId="{12E63131-464F-4C5A-97B2-18293D92E617}" type="presParOf" srcId="{7B7F4A61-44AD-4660-A004-E01D74CB3993}" destId="{7EE343C9-968E-4784-8601-4A7959215DD1}" srcOrd="1" destOrd="0" presId="urn:microsoft.com/office/officeart/2005/8/layout/orgChart1"/>
    <dgm:cxn modelId="{66B4518D-48FF-42A8-A061-3F566F43AB4D}" type="presParOf" srcId="{7EE343C9-968E-4784-8601-4A7959215DD1}" destId="{3B68F40B-CA34-4933-9B66-DF0F8E5E033E}" srcOrd="0" destOrd="0" presId="urn:microsoft.com/office/officeart/2005/8/layout/orgChart1"/>
    <dgm:cxn modelId="{81AD0771-1015-416F-83E7-0B67DC31DF6F}" type="presParOf" srcId="{7EE343C9-968E-4784-8601-4A7959215DD1}" destId="{F7CE9413-E7B2-4296-AD69-7C35B0B15EF1}" srcOrd="1" destOrd="0" presId="urn:microsoft.com/office/officeart/2005/8/layout/orgChart1"/>
    <dgm:cxn modelId="{35EE1743-6F36-47E7-B95A-6A48BE234380}" type="presParOf" srcId="{F7CE9413-E7B2-4296-AD69-7C35B0B15EF1}" destId="{F201A93C-E34C-4B21-9EB3-E70F0FDE64EC}" srcOrd="0" destOrd="0" presId="urn:microsoft.com/office/officeart/2005/8/layout/orgChart1"/>
    <dgm:cxn modelId="{FAC1F550-2538-491E-AE92-D2FA35D7F1CF}" type="presParOf" srcId="{F201A93C-E34C-4B21-9EB3-E70F0FDE64EC}" destId="{7DE978DE-FDD4-4585-A148-67512926481F}" srcOrd="0" destOrd="0" presId="urn:microsoft.com/office/officeart/2005/8/layout/orgChart1"/>
    <dgm:cxn modelId="{D2CA822C-9D3A-4129-90CE-E1B7F93F8914}" type="presParOf" srcId="{F201A93C-E34C-4B21-9EB3-E70F0FDE64EC}" destId="{F65783CD-FCF3-4364-BDAE-C6B8F35DE4E5}" srcOrd="1" destOrd="0" presId="urn:microsoft.com/office/officeart/2005/8/layout/orgChart1"/>
    <dgm:cxn modelId="{9CB40ACC-7784-49B2-8650-4AF019896EE4}" type="presParOf" srcId="{F7CE9413-E7B2-4296-AD69-7C35B0B15EF1}" destId="{19E12958-8C47-47DF-9D4B-00202CA3AC00}" srcOrd="1" destOrd="0" presId="urn:microsoft.com/office/officeart/2005/8/layout/orgChart1"/>
    <dgm:cxn modelId="{D8D9D1A5-34A1-4BD0-BCAE-DB923139D1BC}" type="presParOf" srcId="{F7CE9413-E7B2-4296-AD69-7C35B0B15EF1}" destId="{2FB37C22-08BF-421C-BB25-91D5B4FB4B03}" srcOrd="2" destOrd="0" presId="urn:microsoft.com/office/officeart/2005/8/layout/orgChart1"/>
    <dgm:cxn modelId="{589581BE-A143-40C8-BC26-837ADF7CD303}" type="presParOf" srcId="{7EE343C9-968E-4784-8601-4A7959215DD1}" destId="{8126E7ED-1EFB-4DC7-B93C-A509EDCFECC6}" srcOrd="2" destOrd="0" presId="urn:microsoft.com/office/officeart/2005/8/layout/orgChart1"/>
    <dgm:cxn modelId="{25E2C71B-5A03-4845-A200-16786668C144}" type="presParOf" srcId="{7EE343C9-968E-4784-8601-4A7959215DD1}" destId="{879F3A0E-9DF5-4202-BCBA-30E3FCFD090D}" srcOrd="3" destOrd="0" presId="urn:microsoft.com/office/officeart/2005/8/layout/orgChart1"/>
    <dgm:cxn modelId="{0C062C47-BD32-4E23-9D88-85B2A99BE1F0}" type="presParOf" srcId="{879F3A0E-9DF5-4202-BCBA-30E3FCFD090D}" destId="{C7E92987-2404-49FE-AA7F-AA7B9DEEA283}" srcOrd="0" destOrd="0" presId="urn:microsoft.com/office/officeart/2005/8/layout/orgChart1"/>
    <dgm:cxn modelId="{F77F4A7C-EFB0-41E1-95DE-F3EE2558B83A}" type="presParOf" srcId="{C7E92987-2404-49FE-AA7F-AA7B9DEEA283}" destId="{95060CD5-E72B-43E3-AE00-28ED9DE85B01}" srcOrd="0" destOrd="0" presId="urn:microsoft.com/office/officeart/2005/8/layout/orgChart1"/>
    <dgm:cxn modelId="{7D26E098-55A1-44F7-8EE9-93E2D02F2E3B}" type="presParOf" srcId="{C7E92987-2404-49FE-AA7F-AA7B9DEEA283}" destId="{5A19E98F-0F3A-4E09-AB65-E5F1DA066601}" srcOrd="1" destOrd="0" presId="urn:microsoft.com/office/officeart/2005/8/layout/orgChart1"/>
    <dgm:cxn modelId="{924E3943-ABCC-4495-A9A1-B457C5AE412C}" type="presParOf" srcId="{879F3A0E-9DF5-4202-BCBA-30E3FCFD090D}" destId="{17E28009-57BA-4F44-B413-B50AF86DD419}" srcOrd="1" destOrd="0" presId="urn:microsoft.com/office/officeart/2005/8/layout/orgChart1"/>
    <dgm:cxn modelId="{C3255B56-A1E3-4B80-88B0-64B3E9B38E31}" type="presParOf" srcId="{879F3A0E-9DF5-4202-BCBA-30E3FCFD090D}" destId="{6D691161-BE38-4537-8B7B-09BD6D376C0F}" srcOrd="2" destOrd="0" presId="urn:microsoft.com/office/officeart/2005/8/layout/orgChart1"/>
    <dgm:cxn modelId="{2590CB68-CE60-4897-9D3A-759DCDB0B654}" type="presParOf" srcId="{7EE343C9-968E-4784-8601-4A7959215DD1}" destId="{D20E2316-F1C9-4B58-809C-37D7B49498A8}" srcOrd="4" destOrd="0" presId="urn:microsoft.com/office/officeart/2005/8/layout/orgChart1"/>
    <dgm:cxn modelId="{60710863-D647-4C9E-B43C-6AA4F07EAA72}" type="presParOf" srcId="{7EE343C9-968E-4784-8601-4A7959215DD1}" destId="{FC97199B-5D92-4071-9C5C-7DDAEDABF62E}" srcOrd="5" destOrd="0" presId="urn:microsoft.com/office/officeart/2005/8/layout/orgChart1"/>
    <dgm:cxn modelId="{C151458A-D08E-443B-94A5-D815C9F0BE0C}" type="presParOf" srcId="{FC97199B-5D92-4071-9C5C-7DDAEDABF62E}" destId="{C27AE854-62A4-43C0-B47B-0A4521318F22}" srcOrd="0" destOrd="0" presId="urn:microsoft.com/office/officeart/2005/8/layout/orgChart1"/>
    <dgm:cxn modelId="{6369B334-ACA7-4E92-AFF9-0AC12B395FEB}" type="presParOf" srcId="{C27AE854-62A4-43C0-B47B-0A4521318F22}" destId="{175ADE88-AD71-4BAF-A40D-557E80A72AF6}" srcOrd="0" destOrd="0" presId="urn:microsoft.com/office/officeart/2005/8/layout/orgChart1"/>
    <dgm:cxn modelId="{36ABAE1E-0FF2-4F0B-A458-3502366F0786}" type="presParOf" srcId="{C27AE854-62A4-43C0-B47B-0A4521318F22}" destId="{1FF9E9F1-4FED-413C-B9FB-C759F942D31F}" srcOrd="1" destOrd="0" presId="urn:microsoft.com/office/officeart/2005/8/layout/orgChart1"/>
    <dgm:cxn modelId="{36DC48BB-DCCE-4D8A-80D9-159FB13C3274}" type="presParOf" srcId="{FC97199B-5D92-4071-9C5C-7DDAEDABF62E}" destId="{DC1C3B73-61A4-43AA-B6BF-592C31ECA3AF}" srcOrd="1" destOrd="0" presId="urn:microsoft.com/office/officeart/2005/8/layout/orgChart1"/>
    <dgm:cxn modelId="{45233AD3-F757-4711-AB7E-50C190782C6A}" type="presParOf" srcId="{FC97199B-5D92-4071-9C5C-7DDAEDABF62E}" destId="{2F56F056-C10F-42B0-BF5E-CED793AD7759}" srcOrd="2" destOrd="0" presId="urn:microsoft.com/office/officeart/2005/8/layout/orgChart1"/>
    <dgm:cxn modelId="{40D30553-B11F-42C6-AF34-486BF173FE7C}" type="presParOf" srcId="{7EE343C9-968E-4784-8601-4A7959215DD1}" destId="{3C19CDE8-1619-435F-BE8B-2AB153E85879}" srcOrd="6" destOrd="0" presId="urn:microsoft.com/office/officeart/2005/8/layout/orgChart1"/>
    <dgm:cxn modelId="{4C93AB83-9067-4541-AFCE-07BEA25E32C8}" type="presParOf" srcId="{7EE343C9-968E-4784-8601-4A7959215DD1}" destId="{9360F5D3-E8C2-4C55-9A2E-A0CE2572DDDC}" srcOrd="7" destOrd="0" presId="urn:microsoft.com/office/officeart/2005/8/layout/orgChart1"/>
    <dgm:cxn modelId="{EDD35446-602A-4AD9-9489-CB27F8F8B5A3}" type="presParOf" srcId="{9360F5D3-E8C2-4C55-9A2E-A0CE2572DDDC}" destId="{607D9AFC-CE42-42A1-9EB1-36930BE02CD5}" srcOrd="0" destOrd="0" presId="urn:microsoft.com/office/officeart/2005/8/layout/orgChart1"/>
    <dgm:cxn modelId="{2B90C262-A761-4FC7-A780-A835E4903FF0}" type="presParOf" srcId="{607D9AFC-CE42-42A1-9EB1-36930BE02CD5}" destId="{356B3328-D764-40AC-8224-7C581170E4AA}" srcOrd="0" destOrd="0" presId="urn:microsoft.com/office/officeart/2005/8/layout/orgChart1"/>
    <dgm:cxn modelId="{D9F0CC7E-D3C2-49A7-ABDD-70C2C6D11D8E}" type="presParOf" srcId="{607D9AFC-CE42-42A1-9EB1-36930BE02CD5}" destId="{E93C2A34-A97C-4508-A88F-51D5DA31D8C2}" srcOrd="1" destOrd="0" presId="urn:microsoft.com/office/officeart/2005/8/layout/orgChart1"/>
    <dgm:cxn modelId="{EAF2C466-5EDF-4301-AED0-B11E0AC3F058}" type="presParOf" srcId="{9360F5D3-E8C2-4C55-9A2E-A0CE2572DDDC}" destId="{7BA60B2C-7189-41FF-BFB8-C7874E6AC2DB}" srcOrd="1" destOrd="0" presId="urn:microsoft.com/office/officeart/2005/8/layout/orgChart1"/>
    <dgm:cxn modelId="{70C2ABB5-D316-4B3F-9855-A4FB91272D59}" type="presParOf" srcId="{9360F5D3-E8C2-4C55-9A2E-A0CE2572DDDC}" destId="{27D8EEAD-18A0-4425-A8E3-D7D26180ED33}" srcOrd="2" destOrd="0" presId="urn:microsoft.com/office/officeart/2005/8/layout/orgChart1"/>
    <dgm:cxn modelId="{A4564B4B-2A58-4C14-9AAC-D9CA5F462256}" type="presParOf" srcId="{7EE343C9-968E-4784-8601-4A7959215DD1}" destId="{BA812832-9151-4475-AEEE-997AAEA180DD}" srcOrd="8" destOrd="0" presId="urn:microsoft.com/office/officeart/2005/8/layout/orgChart1"/>
    <dgm:cxn modelId="{C13EF635-9C3F-4BF6-9616-AE2E46E47EDC}" type="presParOf" srcId="{7EE343C9-968E-4784-8601-4A7959215DD1}" destId="{E9DD63BF-38AB-44F1-B73B-18EC62469DAE}" srcOrd="9" destOrd="0" presId="urn:microsoft.com/office/officeart/2005/8/layout/orgChart1"/>
    <dgm:cxn modelId="{6086D2DA-9301-4D9D-A20A-8CC2F6157C7C}" type="presParOf" srcId="{E9DD63BF-38AB-44F1-B73B-18EC62469DAE}" destId="{605226FA-7527-47A1-8279-238BCC889804}" srcOrd="0" destOrd="0" presId="urn:microsoft.com/office/officeart/2005/8/layout/orgChart1"/>
    <dgm:cxn modelId="{DBE8D511-7A32-477F-B7E5-1A4DE20734C2}" type="presParOf" srcId="{605226FA-7527-47A1-8279-238BCC889804}" destId="{0E5ADF65-7528-4E6B-A814-7FD4CDCBAEB0}" srcOrd="0" destOrd="0" presId="urn:microsoft.com/office/officeart/2005/8/layout/orgChart1"/>
    <dgm:cxn modelId="{F88A0F14-0D63-461D-9A4A-48F554255172}" type="presParOf" srcId="{605226FA-7527-47A1-8279-238BCC889804}" destId="{C08C8186-7CE9-48AE-B41B-D881FD3C4D87}" srcOrd="1" destOrd="0" presId="urn:microsoft.com/office/officeart/2005/8/layout/orgChart1"/>
    <dgm:cxn modelId="{020C0C03-3FF2-4EA8-AE9F-0BD4D76487CE}" type="presParOf" srcId="{E9DD63BF-38AB-44F1-B73B-18EC62469DAE}" destId="{E6017F6A-7607-44AA-9473-D5CDBDEDB0C7}" srcOrd="1" destOrd="0" presId="urn:microsoft.com/office/officeart/2005/8/layout/orgChart1"/>
    <dgm:cxn modelId="{ADAC04D0-A6F2-4362-A5D4-10B58BBAAC02}" type="presParOf" srcId="{E9DD63BF-38AB-44F1-B73B-18EC62469DAE}" destId="{306A7944-FDCE-4D0C-AD95-EC9B74B2C481}" srcOrd="2" destOrd="0" presId="urn:microsoft.com/office/officeart/2005/8/layout/orgChart1"/>
    <dgm:cxn modelId="{748D5314-3570-4DD2-8FCC-B3E871DA7C5B}" type="presParOf" srcId="{7EE343C9-968E-4784-8601-4A7959215DD1}" destId="{15BFC48D-BBC2-4AA7-84DF-E08D387E4BEE}" srcOrd="10" destOrd="0" presId="urn:microsoft.com/office/officeart/2005/8/layout/orgChart1"/>
    <dgm:cxn modelId="{CBD8FB6D-D2C3-464E-BA02-007E57AAE506}" type="presParOf" srcId="{7EE343C9-968E-4784-8601-4A7959215DD1}" destId="{F23DC6A7-5F16-4E38-86B1-CAA6CCFFD663}" srcOrd="11" destOrd="0" presId="urn:microsoft.com/office/officeart/2005/8/layout/orgChart1"/>
    <dgm:cxn modelId="{DA37E304-C6FB-4663-8877-1C93F22B2620}" type="presParOf" srcId="{F23DC6A7-5F16-4E38-86B1-CAA6CCFFD663}" destId="{C7979B17-2652-45CB-BA3C-E7D7C2DAE869}" srcOrd="0" destOrd="0" presId="urn:microsoft.com/office/officeart/2005/8/layout/orgChart1"/>
    <dgm:cxn modelId="{D69402D6-873F-4681-BBA0-ACB0FA5EA08A}" type="presParOf" srcId="{C7979B17-2652-45CB-BA3C-E7D7C2DAE869}" destId="{F0F62E1F-8929-43B7-BB6A-F1C6E74066B2}" srcOrd="0" destOrd="0" presId="urn:microsoft.com/office/officeart/2005/8/layout/orgChart1"/>
    <dgm:cxn modelId="{B78060AB-0F41-4A5E-9773-F71B33D3FB64}" type="presParOf" srcId="{C7979B17-2652-45CB-BA3C-E7D7C2DAE869}" destId="{B2119018-1591-4A2B-916A-EAC928437B99}" srcOrd="1" destOrd="0" presId="urn:microsoft.com/office/officeart/2005/8/layout/orgChart1"/>
    <dgm:cxn modelId="{E169CFC7-C5A1-4170-9749-929C6D8FB4CF}" type="presParOf" srcId="{F23DC6A7-5F16-4E38-86B1-CAA6CCFFD663}" destId="{986859C5-59D9-4CAA-95D8-8C726C6A14CD}" srcOrd="1" destOrd="0" presId="urn:microsoft.com/office/officeart/2005/8/layout/orgChart1"/>
    <dgm:cxn modelId="{82322C6C-4F2A-416C-B2AF-8D0145B68BFB}" type="presParOf" srcId="{F23DC6A7-5F16-4E38-86B1-CAA6CCFFD663}" destId="{70C682E1-4958-4E6D-8D51-7120235B17E3}" srcOrd="2" destOrd="0" presId="urn:microsoft.com/office/officeart/2005/8/layout/orgChart1"/>
    <dgm:cxn modelId="{8ED5B61B-2334-46C3-9392-B6BAB54CCB4F}" type="presParOf" srcId="{7EE343C9-968E-4784-8601-4A7959215DD1}" destId="{D0A2B68C-81AE-484B-AA25-5AD1DD9964D7}" srcOrd="12" destOrd="0" presId="urn:microsoft.com/office/officeart/2005/8/layout/orgChart1"/>
    <dgm:cxn modelId="{C1BE44F3-5195-427F-91D7-CAD42CF45E25}" type="presParOf" srcId="{7EE343C9-968E-4784-8601-4A7959215DD1}" destId="{BCDE0529-E1B6-4338-9B92-2E52C2823B7C}" srcOrd="13" destOrd="0" presId="urn:microsoft.com/office/officeart/2005/8/layout/orgChart1"/>
    <dgm:cxn modelId="{EB0A17A4-E577-4B7A-B55D-35E0316E9046}" type="presParOf" srcId="{BCDE0529-E1B6-4338-9B92-2E52C2823B7C}" destId="{C54585F7-6C6B-40B1-81E8-9C201F432ACA}" srcOrd="0" destOrd="0" presId="urn:microsoft.com/office/officeart/2005/8/layout/orgChart1"/>
    <dgm:cxn modelId="{0F32DD83-EC15-4C9A-B3B0-1A2E64A46062}" type="presParOf" srcId="{C54585F7-6C6B-40B1-81E8-9C201F432ACA}" destId="{3AE77575-B618-4540-A5D3-713314C05524}" srcOrd="0" destOrd="0" presId="urn:microsoft.com/office/officeart/2005/8/layout/orgChart1"/>
    <dgm:cxn modelId="{5E55EC08-4539-48EB-91F5-D44CA95776A3}" type="presParOf" srcId="{C54585F7-6C6B-40B1-81E8-9C201F432ACA}" destId="{0A7ECC2D-925A-4A5A-983B-44AA6F0DAF1D}" srcOrd="1" destOrd="0" presId="urn:microsoft.com/office/officeart/2005/8/layout/orgChart1"/>
    <dgm:cxn modelId="{4D174EC0-8148-4C4E-9BEF-45FE468B741E}" type="presParOf" srcId="{BCDE0529-E1B6-4338-9B92-2E52C2823B7C}" destId="{747F2C99-3DF1-4AC3-810F-11A9F9C64CC1}" srcOrd="1" destOrd="0" presId="urn:microsoft.com/office/officeart/2005/8/layout/orgChart1"/>
    <dgm:cxn modelId="{20C64595-0233-451D-B5B5-D08E48907ECE}" type="presParOf" srcId="{BCDE0529-E1B6-4338-9B92-2E52C2823B7C}" destId="{D8DEE09F-9284-4300-A08E-19A45A7D509D}" srcOrd="2" destOrd="0" presId="urn:microsoft.com/office/officeart/2005/8/layout/orgChart1"/>
    <dgm:cxn modelId="{07CDC290-5FC6-4997-8FD4-ACAE671FF17A}" type="presParOf" srcId="{7B7F4A61-44AD-4660-A004-E01D74CB3993}" destId="{2A2C7B99-30D3-4786-A061-FD5978DD9CE9}" srcOrd="2" destOrd="0" presId="urn:microsoft.com/office/officeart/2005/8/layout/orgChart1"/>
    <dgm:cxn modelId="{739275AD-4A72-4FA0-A1C7-A957CDF75703}" type="presParOf" srcId="{066E69C0-C6CF-4B2F-9503-59BB14177765}" destId="{D0B2D542-C665-4A27-AB65-BE2D43E07D73}" srcOrd="4" destOrd="0" presId="urn:microsoft.com/office/officeart/2005/8/layout/orgChart1"/>
    <dgm:cxn modelId="{F28D887A-FF65-414B-9C2F-072DAA286FF9}" type="presParOf" srcId="{066E69C0-C6CF-4B2F-9503-59BB14177765}" destId="{D6D62EFD-97F2-4BA7-AB1A-C8F3824F81AD}" srcOrd="5" destOrd="0" presId="urn:microsoft.com/office/officeart/2005/8/layout/orgChart1"/>
    <dgm:cxn modelId="{E3633205-6D5D-479D-85A4-18D062259211}" type="presParOf" srcId="{D6D62EFD-97F2-4BA7-AB1A-C8F3824F81AD}" destId="{A2F2327A-4FFD-42A9-BB8F-40200C5D7625}" srcOrd="0" destOrd="0" presId="urn:microsoft.com/office/officeart/2005/8/layout/orgChart1"/>
    <dgm:cxn modelId="{40038D14-F9A5-49B6-AA27-563295E60E33}" type="presParOf" srcId="{A2F2327A-4FFD-42A9-BB8F-40200C5D7625}" destId="{20A39BFD-AC94-4833-AAAF-948F81E52002}" srcOrd="0" destOrd="0" presId="urn:microsoft.com/office/officeart/2005/8/layout/orgChart1"/>
    <dgm:cxn modelId="{19366516-FB63-4A50-BA36-DAC238D883C7}" type="presParOf" srcId="{A2F2327A-4FFD-42A9-BB8F-40200C5D7625}" destId="{0A4B7152-A5C0-4304-B702-BC0C52C9EC39}" srcOrd="1" destOrd="0" presId="urn:microsoft.com/office/officeart/2005/8/layout/orgChart1"/>
    <dgm:cxn modelId="{333CBFA6-4EE1-4165-94BC-0353688A706D}" type="presParOf" srcId="{D6D62EFD-97F2-4BA7-AB1A-C8F3824F81AD}" destId="{6923F2DB-CFA1-43DA-B776-2F8B671228D5}" srcOrd="1" destOrd="0" presId="urn:microsoft.com/office/officeart/2005/8/layout/orgChart1"/>
    <dgm:cxn modelId="{F54825B7-BC91-49C5-9CAB-10305281D6BD}" type="presParOf" srcId="{6923F2DB-CFA1-43DA-B776-2F8B671228D5}" destId="{9233F8A3-3DD8-405A-B709-2177E2199FEB}" srcOrd="0" destOrd="0" presId="urn:microsoft.com/office/officeart/2005/8/layout/orgChart1"/>
    <dgm:cxn modelId="{C2C479DE-472E-4BF3-8C95-FE6D7336F317}" type="presParOf" srcId="{6923F2DB-CFA1-43DA-B776-2F8B671228D5}" destId="{0B51C77E-E536-48AA-9BF2-E5CB156A28CD}" srcOrd="1" destOrd="0" presId="urn:microsoft.com/office/officeart/2005/8/layout/orgChart1"/>
    <dgm:cxn modelId="{8D698184-F922-4959-B2A5-FFBAEB08D083}" type="presParOf" srcId="{0B51C77E-E536-48AA-9BF2-E5CB156A28CD}" destId="{AB22C40B-D3AF-4475-9672-4D9A2F57941C}" srcOrd="0" destOrd="0" presId="urn:microsoft.com/office/officeart/2005/8/layout/orgChart1"/>
    <dgm:cxn modelId="{FA44B9A6-BE7A-43F9-9505-76CAD1B1EA85}" type="presParOf" srcId="{AB22C40B-D3AF-4475-9672-4D9A2F57941C}" destId="{F0663EE5-7143-42B2-A6AE-F82AA7D88908}" srcOrd="0" destOrd="0" presId="urn:microsoft.com/office/officeart/2005/8/layout/orgChart1"/>
    <dgm:cxn modelId="{B3C14A5F-2831-490D-BFFC-6C8367A3A7D6}" type="presParOf" srcId="{AB22C40B-D3AF-4475-9672-4D9A2F57941C}" destId="{AE4351CA-69DC-4BA0-AB6C-9CE1DF3BD1D6}" srcOrd="1" destOrd="0" presId="urn:microsoft.com/office/officeart/2005/8/layout/orgChart1"/>
    <dgm:cxn modelId="{92B9DA50-F49E-43A8-85EC-3F4CD9CE4D5B}" type="presParOf" srcId="{0B51C77E-E536-48AA-9BF2-E5CB156A28CD}" destId="{35179876-1C2A-4A17-9895-CFA1E81D445B}" srcOrd="1" destOrd="0" presId="urn:microsoft.com/office/officeart/2005/8/layout/orgChart1"/>
    <dgm:cxn modelId="{51574FE8-A826-4A7D-B215-BFACB122C0AC}" type="presParOf" srcId="{0B51C77E-E536-48AA-9BF2-E5CB156A28CD}" destId="{E3DAD0CB-79FA-4AA7-979E-EFEEE2D28862}" srcOrd="2" destOrd="0" presId="urn:microsoft.com/office/officeart/2005/8/layout/orgChart1"/>
    <dgm:cxn modelId="{4EDE7D5F-003D-4346-9D6C-20378A9D93C3}" type="presParOf" srcId="{6923F2DB-CFA1-43DA-B776-2F8B671228D5}" destId="{4292BEEF-ED59-4044-B99B-DC4347476C93}" srcOrd="2" destOrd="0" presId="urn:microsoft.com/office/officeart/2005/8/layout/orgChart1"/>
    <dgm:cxn modelId="{82CA87E3-8A8A-4655-A02F-E8ABD514879E}" type="presParOf" srcId="{6923F2DB-CFA1-43DA-B776-2F8B671228D5}" destId="{EB1E0698-2238-417E-B4CC-925D422ADFD9}" srcOrd="3" destOrd="0" presId="urn:microsoft.com/office/officeart/2005/8/layout/orgChart1"/>
    <dgm:cxn modelId="{33CC07FB-38EC-4959-BD9E-F15A6A2AF0C6}" type="presParOf" srcId="{EB1E0698-2238-417E-B4CC-925D422ADFD9}" destId="{D7895E98-490F-4AA4-8255-363F85B08485}" srcOrd="0" destOrd="0" presId="urn:microsoft.com/office/officeart/2005/8/layout/orgChart1"/>
    <dgm:cxn modelId="{3AA2FDE7-AD56-4AEF-90C0-FF2EA177CD53}" type="presParOf" srcId="{D7895E98-490F-4AA4-8255-363F85B08485}" destId="{679AFEB9-1304-4C46-92B9-D14908334993}" srcOrd="0" destOrd="0" presId="urn:microsoft.com/office/officeart/2005/8/layout/orgChart1"/>
    <dgm:cxn modelId="{E586D0AD-3DAB-489C-A199-3D9FEC2D86A6}" type="presParOf" srcId="{D7895E98-490F-4AA4-8255-363F85B08485}" destId="{AD7D63B9-7467-4870-AB99-425C675F3C72}" srcOrd="1" destOrd="0" presId="urn:microsoft.com/office/officeart/2005/8/layout/orgChart1"/>
    <dgm:cxn modelId="{DD276A01-31B1-41D8-A7C7-E1F259BF44D8}" type="presParOf" srcId="{EB1E0698-2238-417E-B4CC-925D422ADFD9}" destId="{977126EB-F25D-4C49-B98B-B68E1BD0D4BB}" srcOrd="1" destOrd="0" presId="urn:microsoft.com/office/officeart/2005/8/layout/orgChart1"/>
    <dgm:cxn modelId="{45E8A8EE-F7C6-4097-ADE2-BCF0F01671E7}" type="presParOf" srcId="{EB1E0698-2238-417E-B4CC-925D422ADFD9}" destId="{B2673B5A-D20B-433C-B67A-77654BAC3B88}" srcOrd="2" destOrd="0" presId="urn:microsoft.com/office/officeart/2005/8/layout/orgChart1"/>
    <dgm:cxn modelId="{46509746-E959-47D5-AFCF-729D6F4D7E23}" type="presParOf" srcId="{6923F2DB-CFA1-43DA-B776-2F8B671228D5}" destId="{B023BEAD-FFE1-4FE2-87DF-FBE8E5BE29A9}" srcOrd="4" destOrd="0" presId="urn:microsoft.com/office/officeart/2005/8/layout/orgChart1"/>
    <dgm:cxn modelId="{8447598F-6DC5-4C95-992F-526B9375D012}" type="presParOf" srcId="{6923F2DB-CFA1-43DA-B776-2F8B671228D5}" destId="{5476372D-2150-433E-B2AE-6BA5A6E9F1A9}" srcOrd="5" destOrd="0" presId="urn:microsoft.com/office/officeart/2005/8/layout/orgChart1"/>
    <dgm:cxn modelId="{D94A905D-0E09-427C-AC29-DC1A7E24C0A3}" type="presParOf" srcId="{5476372D-2150-433E-B2AE-6BA5A6E9F1A9}" destId="{22333E98-19CF-433C-9D01-F001398BCC8F}" srcOrd="0" destOrd="0" presId="urn:microsoft.com/office/officeart/2005/8/layout/orgChart1"/>
    <dgm:cxn modelId="{391A76F0-3D96-484B-A95A-1389F289C3B3}" type="presParOf" srcId="{22333E98-19CF-433C-9D01-F001398BCC8F}" destId="{F47BE956-BC37-4E68-8509-835266EF4509}" srcOrd="0" destOrd="0" presId="urn:microsoft.com/office/officeart/2005/8/layout/orgChart1"/>
    <dgm:cxn modelId="{78F1DCE0-C90C-4092-B918-67B0AB5C9F3F}" type="presParOf" srcId="{22333E98-19CF-433C-9D01-F001398BCC8F}" destId="{0061E253-07A5-4060-9D9C-063107019FC0}" srcOrd="1" destOrd="0" presId="urn:microsoft.com/office/officeart/2005/8/layout/orgChart1"/>
    <dgm:cxn modelId="{686C085E-7D08-41E6-AFCD-56D8903CE42E}" type="presParOf" srcId="{5476372D-2150-433E-B2AE-6BA5A6E9F1A9}" destId="{6A6FBDEC-98AE-4464-802A-117EA88E3B82}" srcOrd="1" destOrd="0" presId="urn:microsoft.com/office/officeart/2005/8/layout/orgChart1"/>
    <dgm:cxn modelId="{3178ADC2-0A8E-4976-B688-190CCFBFFEF4}" type="presParOf" srcId="{5476372D-2150-433E-B2AE-6BA5A6E9F1A9}" destId="{EAFC9707-615E-4A38-811E-4449FC86631C}" srcOrd="2" destOrd="0" presId="urn:microsoft.com/office/officeart/2005/8/layout/orgChart1"/>
    <dgm:cxn modelId="{1781A8DD-B4F8-4F2E-B002-2AB4336EC04B}" type="presParOf" srcId="{D6D62EFD-97F2-4BA7-AB1A-C8F3824F81AD}" destId="{909A163B-528C-4467-82CA-CD38902FAE5A}" srcOrd="2" destOrd="0" presId="urn:microsoft.com/office/officeart/2005/8/layout/orgChart1"/>
    <dgm:cxn modelId="{9B5783D9-79D9-4D74-BE47-B1E1BE0069DB}" type="presParOf" srcId="{066E69C0-C6CF-4B2F-9503-59BB14177765}" destId="{D08577E6-9F61-4368-8C6C-6BFE825C8CCF}" srcOrd="6" destOrd="0" presId="urn:microsoft.com/office/officeart/2005/8/layout/orgChart1"/>
    <dgm:cxn modelId="{3883A0AD-CF3F-427C-A7F7-535EBA2F69EA}" type="presParOf" srcId="{066E69C0-C6CF-4B2F-9503-59BB14177765}" destId="{83DAE4F7-D3DA-498F-A827-D7EA16288892}" srcOrd="7" destOrd="0" presId="urn:microsoft.com/office/officeart/2005/8/layout/orgChart1"/>
    <dgm:cxn modelId="{10C8934F-9342-49A7-ABF1-D9A763FAF26A}" type="presParOf" srcId="{83DAE4F7-D3DA-498F-A827-D7EA16288892}" destId="{BB502853-2436-4E23-A179-9E0EE716BF8C}" srcOrd="0" destOrd="0" presId="urn:microsoft.com/office/officeart/2005/8/layout/orgChart1"/>
    <dgm:cxn modelId="{51898E4A-12C4-40B9-84FC-2D12E0E25237}" type="presParOf" srcId="{BB502853-2436-4E23-A179-9E0EE716BF8C}" destId="{82EB6CB6-BC4E-4D4C-A10D-B3680BF7A7D2}" srcOrd="0" destOrd="0" presId="urn:microsoft.com/office/officeart/2005/8/layout/orgChart1"/>
    <dgm:cxn modelId="{655DC81E-5561-45C1-A7C7-3DE131FCAD94}" type="presParOf" srcId="{BB502853-2436-4E23-A179-9E0EE716BF8C}" destId="{3529AC6F-214E-4BA5-9ABF-2AAB4904DB2A}" srcOrd="1" destOrd="0" presId="urn:microsoft.com/office/officeart/2005/8/layout/orgChart1"/>
    <dgm:cxn modelId="{C0AAA528-F4BE-4227-A134-12FC06AE7274}" type="presParOf" srcId="{83DAE4F7-D3DA-498F-A827-D7EA16288892}" destId="{680C4AC6-7203-4B1B-9601-B803D3048B23}" srcOrd="1" destOrd="0" presId="urn:microsoft.com/office/officeart/2005/8/layout/orgChart1"/>
    <dgm:cxn modelId="{3EA8A177-8C3E-45C6-B74F-398764BEF456}" type="presParOf" srcId="{680C4AC6-7203-4B1B-9601-B803D3048B23}" destId="{3DC3783D-00DF-4D73-BC7D-A41DFB3A67B6}" srcOrd="0" destOrd="0" presId="urn:microsoft.com/office/officeart/2005/8/layout/orgChart1"/>
    <dgm:cxn modelId="{53039B4C-6682-4A2D-8BEE-64F367B8AA30}" type="presParOf" srcId="{680C4AC6-7203-4B1B-9601-B803D3048B23}" destId="{60C8AFC8-C4AD-4B04-91D4-A5B5C090D367}" srcOrd="1" destOrd="0" presId="urn:microsoft.com/office/officeart/2005/8/layout/orgChart1"/>
    <dgm:cxn modelId="{6F093F1B-822B-4EF3-BC89-7471B4FE8AB9}" type="presParOf" srcId="{60C8AFC8-C4AD-4B04-91D4-A5B5C090D367}" destId="{B486CE47-7DD5-48BF-8D75-E540029EE6CA}" srcOrd="0" destOrd="0" presId="urn:microsoft.com/office/officeart/2005/8/layout/orgChart1"/>
    <dgm:cxn modelId="{20E93A13-197B-4A5B-8327-E388C094DC87}" type="presParOf" srcId="{B486CE47-7DD5-48BF-8D75-E540029EE6CA}" destId="{0750D890-C529-4565-BAB3-D4A4004C9728}" srcOrd="0" destOrd="0" presId="urn:microsoft.com/office/officeart/2005/8/layout/orgChart1"/>
    <dgm:cxn modelId="{7808AF53-047E-408A-B8F4-0E21ADB41254}" type="presParOf" srcId="{B486CE47-7DD5-48BF-8D75-E540029EE6CA}" destId="{53D8C03D-8A58-4E09-A501-D19238429C1F}" srcOrd="1" destOrd="0" presId="urn:microsoft.com/office/officeart/2005/8/layout/orgChart1"/>
    <dgm:cxn modelId="{11D27264-9C9A-479C-A173-512436CDC008}" type="presParOf" srcId="{60C8AFC8-C4AD-4B04-91D4-A5B5C090D367}" destId="{9C4339F7-3EFD-4F3B-A986-8D230CE96470}" srcOrd="1" destOrd="0" presId="urn:microsoft.com/office/officeart/2005/8/layout/orgChart1"/>
    <dgm:cxn modelId="{756CEB33-A966-477D-BFF2-536F26861CDC}" type="presParOf" srcId="{60C8AFC8-C4AD-4B04-91D4-A5B5C090D367}" destId="{6841046C-A373-43FC-AD58-F587E8686F44}" srcOrd="2" destOrd="0" presId="urn:microsoft.com/office/officeart/2005/8/layout/orgChart1"/>
    <dgm:cxn modelId="{6302D919-34F3-409D-B40E-38F860BDE9E8}" type="presParOf" srcId="{680C4AC6-7203-4B1B-9601-B803D3048B23}" destId="{1B9B1158-72D8-4646-84DD-EF716B116A0C}" srcOrd="2" destOrd="0" presId="urn:microsoft.com/office/officeart/2005/8/layout/orgChart1"/>
    <dgm:cxn modelId="{87B428AC-0787-4F74-B3D1-88649C305F0C}" type="presParOf" srcId="{680C4AC6-7203-4B1B-9601-B803D3048B23}" destId="{91134C7B-6308-40CC-8BCC-21F895B27679}" srcOrd="3" destOrd="0" presId="urn:microsoft.com/office/officeart/2005/8/layout/orgChart1"/>
    <dgm:cxn modelId="{8715E780-1F53-4587-BB03-480A4EBC0755}" type="presParOf" srcId="{91134C7B-6308-40CC-8BCC-21F895B27679}" destId="{907D4FED-0B85-4459-B11D-7880BF19FE84}" srcOrd="0" destOrd="0" presId="urn:microsoft.com/office/officeart/2005/8/layout/orgChart1"/>
    <dgm:cxn modelId="{738E733D-831D-4FEB-8F37-32B5184B7EC3}" type="presParOf" srcId="{907D4FED-0B85-4459-B11D-7880BF19FE84}" destId="{6B26C1DA-C267-4CEE-A825-2498CB5CCDE4}" srcOrd="0" destOrd="0" presId="urn:microsoft.com/office/officeart/2005/8/layout/orgChart1"/>
    <dgm:cxn modelId="{3A5A5D2C-CB77-4ECB-B00D-466395F8C65C}" type="presParOf" srcId="{907D4FED-0B85-4459-B11D-7880BF19FE84}" destId="{4DC09D01-8663-4654-AAA6-5B039AD072A1}" srcOrd="1" destOrd="0" presId="urn:microsoft.com/office/officeart/2005/8/layout/orgChart1"/>
    <dgm:cxn modelId="{F98BE75A-81B0-4CE4-B5A5-0A3CEFC85D31}" type="presParOf" srcId="{91134C7B-6308-40CC-8BCC-21F895B27679}" destId="{6D4C8EFB-9A63-4D1C-B48D-76E9CCC91125}" srcOrd="1" destOrd="0" presId="urn:microsoft.com/office/officeart/2005/8/layout/orgChart1"/>
    <dgm:cxn modelId="{8944BEA8-D907-48A0-A53C-03D0E482FB68}" type="presParOf" srcId="{91134C7B-6308-40CC-8BCC-21F895B27679}" destId="{62F18575-2872-43AF-B296-AD9C83EBCE51}" srcOrd="2" destOrd="0" presId="urn:microsoft.com/office/officeart/2005/8/layout/orgChart1"/>
    <dgm:cxn modelId="{9CD8A39C-2A94-44A6-9A0D-6FB7DEE38CDB}" type="presParOf" srcId="{680C4AC6-7203-4B1B-9601-B803D3048B23}" destId="{07B10B61-0933-49D5-9F06-7E2744C55194}" srcOrd="4" destOrd="0" presId="urn:microsoft.com/office/officeart/2005/8/layout/orgChart1"/>
    <dgm:cxn modelId="{B1D86FC9-C79F-4E88-989B-A6AE2A8EF2DD}" type="presParOf" srcId="{680C4AC6-7203-4B1B-9601-B803D3048B23}" destId="{B7B6B13A-B466-44A7-9373-F20080332702}" srcOrd="5" destOrd="0" presId="urn:microsoft.com/office/officeart/2005/8/layout/orgChart1"/>
    <dgm:cxn modelId="{CD05D5DF-C665-43F8-A0E6-56051EF16AA2}" type="presParOf" srcId="{B7B6B13A-B466-44A7-9373-F20080332702}" destId="{8DD64E20-1315-4B75-8660-B8B28B286A90}" srcOrd="0" destOrd="0" presId="urn:microsoft.com/office/officeart/2005/8/layout/orgChart1"/>
    <dgm:cxn modelId="{9BEF358B-B3FC-4132-98A8-E780C60DEFF1}" type="presParOf" srcId="{8DD64E20-1315-4B75-8660-B8B28B286A90}" destId="{9E15D32B-A159-4B43-91E5-E167856E33BF}" srcOrd="0" destOrd="0" presId="urn:microsoft.com/office/officeart/2005/8/layout/orgChart1"/>
    <dgm:cxn modelId="{B61324B2-182A-44B4-9BCA-3B288CBEA404}" type="presParOf" srcId="{8DD64E20-1315-4B75-8660-B8B28B286A90}" destId="{445AE659-5C5A-488F-9D84-8716842FB809}" srcOrd="1" destOrd="0" presId="urn:microsoft.com/office/officeart/2005/8/layout/orgChart1"/>
    <dgm:cxn modelId="{B46DAD04-11FC-4DD1-8189-BD30EC425ABE}" type="presParOf" srcId="{B7B6B13A-B466-44A7-9373-F20080332702}" destId="{30005633-7034-4DF5-8FA8-E6150C3C532A}" srcOrd="1" destOrd="0" presId="urn:microsoft.com/office/officeart/2005/8/layout/orgChart1"/>
    <dgm:cxn modelId="{86F3453E-3508-4770-A7BF-37140FCB9D9F}" type="presParOf" srcId="{B7B6B13A-B466-44A7-9373-F20080332702}" destId="{D37E5529-BA5A-40ED-9DF4-F763BEE0B11E}" srcOrd="2" destOrd="0" presId="urn:microsoft.com/office/officeart/2005/8/layout/orgChart1"/>
    <dgm:cxn modelId="{FF57E89B-E13B-4068-8624-F3185BE2E58F}" type="presParOf" srcId="{83DAE4F7-D3DA-498F-A827-D7EA16288892}" destId="{A8C59E33-8BD9-4E59-8FBA-3889B6B99033}" srcOrd="2" destOrd="0" presId="urn:microsoft.com/office/officeart/2005/8/layout/orgChart1"/>
    <dgm:cxn modelId="{E434908D-8A6C-4351-833F-73FBCDF6A8A7}" type="presParOf" srcId="{066E69C0-C6CF-4B2F-9503-59BB14177765}" destId="{76881711-8B76-4157-8371-D2A005E257D7}" srcOrd="8" destOrd="0" presId="urn:microsoft.com/office/officeart/2005/8/layout/orgChart1"/>
    <dgm:cxn modelId="{A9F6789C-87D0-40F2-B493-10E01465DB08}" type="presParOf" srcId="{066E69C0-C6CF-4B2F-9503-59BB14177765}" destId="{B016AF52-EF24-48EA-B883-B7A6EEBD317C}" srcOrd="9" destOrd="0" presId="urn:microsoft.com/office/officeart/2005/8/layout/orgChart1"/>
    <dgm:cxn modelId="{06EF30E7-FA37-45D4-ACAB-D8982B70AEE5}" type="presParOf" srcId="{B016AF52-EF24-48EA-B883-B7A6EEBD317C}" destId="{7B1C4C30-4B36-4C3F-9AEE-26CC76DCF16A}" srcOrd="0" destOrd="0" presId="urn:microsoft.com/office/officeart/2005/8/layout/orgChart1"/>
    <dgm:cxn modelId="{BFDA63BC-2C43-4D78-AC32-AC7E6D5FF790}" type="presParOf" srcId="{7B1C4C30-4B36-4C3F-9AEE-26CC76DCF16A}" destId="{C9A66C12-5161-47AC-809C-85074A4E7350}" srcOrd="0" destOrd="0" presId="urn:microsoft.com/office/officeart/2005/8/layout/orgChart1"/>
    <dgm:cxn modelId="{96F7BBC9-94F7-4BB9-84CE-FF801261CF78}" type="presParOf" srcId="{7B1C4C30-4B36-4C3F-9AEE-26CC76DCF16A}" destId="{1E0CCDDD-DA94-48AA-9AF2-605E42E813DB}" srcOrd="1" destOrd="0" presId="urn:microsoft.com/office/officeart/2005/8/layout/orgChart1"/>
    <dgm:cxn modelId="{AF8B5A31-C7D2-4490-99A8-951C3DBC2D32}" type="presParOf" srcId="{B016AF52-EF24-48EA-B883-B7A6EEBD317C}" destId="{0D2FB71C-9870-4800-99B8-E9BCED327B60}" srcOrd="1" destOrd="0" presId="urn:microsoft.com/office/officeart/2005/8/layout/orgChart1"/>
    <dgm:cxn modelId="{BD782758-DCDC-435F-B558-AD1AFAD6D5F0}" type="presParOf" srcId="{0D2FB71C-9870-4800-99B8-E9BCED327B60}" destId="{E969B95B-BF5F-4C79-8B06-7BB350822E73}" srcOrd="0" destOrd="0" presId="urn:microsoft.com/office/officeart/2005/8/layout/orgChart1"/>
    <dgm:cxn modelId="{AB20F680-9F78-42C1-8A2E-75662B9110A5}" type="presParOf" srcId="{0D2FB71C-9870-4800-99B8-E9BCED327B60}" destId="{E4E41682-C694-4778-9E28-FB0026AF1386}" srcOrd="1" destOrd="0" presId="urn:microsoft.com/office/officeart/2005/8/layout/orgChart1"/>
    <dgm:cxn modelId="{F0EAE5A8-0123-4DD4-9613-C9761076558D}" type="presParOf" srcId="{E4E41682-C694-4778-9E28-FB0026AF1386}" destId="{6A851532-5B0C-4B9B-9ECB-B4597A40A85E}" srcOrd="0" destOrd="0" presId="urn:microsoft.com/office/officeart/2005/8/layout/orgChart1"/>
    <dgm:cxn modelId="{CC3692EC-4B76-4DCB-8DFC-21D83D68D23B}" type="presParOf" srcId="{6A851532-5B0C-4B9B-9ECB-B4597A40A85E}" destId="{C6932264-56D3-4DF9-8D2C-021A743567DD}" srcOrd="0" destOrd="0" presId="urn:microsoft.com/office/officeart/2005/8/layout/orgChart1"/>
    <dgm:cxn modelId="{F071D4A5-5E78-40D3-9E35-B2972614F354}" type="presParOf" srcId="{6A851532-5B0C-4B9B-9ECB-B4597A40A85E}" destId="{DD9CCF90-B2E3-4925-9055-02B847306E59}" srcOrd="1" destOrd="0" presId="urn:microsoft.com/office/officeart/2005/8/layout/orgChart1"/>
    <dgm:cxn modelId="{3E9E29BA-B31B-4DCD-B85B-EEFD272442E6}" type="presParOf" srcId="{E4E41682-C694-4778-9E28-FB0026AF1386}" destId="{9C95F66F-D879-42DF-941B-74DE22032C94}" srcOrd="1" destOrd="0" presId="urn:microsoft.com/office/officeart/2005/8/layout/orgChart1"/>
    <dgm:cxn modelId="{B735894C-CAB8-475C-9EED-86F7B6DAD715}" type="presParOf" srcId="{E4E41682-C694-4778-9E28-FB0026AF1386}" destId="{4AFB5385-10EC-475F-B2F8-B6CCD7D7E4D2}" srcOrd="2" destOrd="0" presId="urn:microsoft.com/office/officeart/2005/8/layout/orgChart1"/>
    <dgm:cxn modelId="{15DB6B87-92D0-40ED-A409-8456C408E128}" type="presParOf" srcId="{0D2FB71C-9870-4800-99B8-E9BCED327B60}" destId="{30D36E63-1B7A-4999-B032-672C2B5B93C8}" srcOrd="2" destOrd="0" presId="urn:microsoft.com/office/officeart/2005/8/layout/orgChart1"/>
    <dgm:cxn modelId="{24998EE4-167B-4D53-8215-49E8E5AC2BF3}" type="presParOf" srcId="{0D2FB71C-9870-4800-99B8-E9BCED327B60}" destId="{3A929C0E-81FB-4E7A-BE59-62AB48FCBF88}" srcOrd="3" destOrd="0" presId="urn:microsoft.com/office/officeart/2005/8/layout/orgChart1"/>
    <dgm:cxn modelId="{8C02DDCA-B5B8-44A3-834A-B0200D132776}" type="presParOf" srcId="{3A929C0E-81FB-4E7A-BE59-62AB48FCBF88}" destId="{010BE033-EC63-4A67-B243-9D80E2AA578A}" srcOrd="0" destOrd="0" presId="urn:microsoft.com/office/officeart/2005/8/layout/orgChart1"/>
    <dgm:cxn modelId="{D9364885-E7D5-4F43-97A5-AC3FB876F093}" type="presParOf" srcId="{010BE033-EC63-4A67-B243-9D80E2AA578A}" destId="{699B182D-F671-424A-9A63-23C7C7B4D8F7}" srcOrd="0" destOrd="0" presId="urn:microsoft.com/office/officeart/2005/8/layout/orgChart1"/>
    <dgm:cxn modelId="{37D0D2B6-9E37-46FA-9593-5563CA32A679}" type="presParOf" srcId="{010BE033-EC63-4A67-B243-9D80E2AA578A}" destId="{4803F6AC-2159-4596-8F72-02FB462BBC70}" srcOrd="1" destOrd="0" presId="urn:microsoft.com/office/officeart/2005/8/layout/orgChart1"/>
    <dgm:cxn modelId="{A516B5B3-2D36-41E7-AAF5-136FFD67D947}" type="presParOf" srcId="{3A929C0E-81FB-4E7A-BE59-62AB48FCBF88}" destId="{86B10551-3A3E-41F6-A685-E06E17DB6929}" srcOrd="1" destOrd="0" presId="urn:microsoft.com/office/officeart/2005/8/layout/orgChart1"/>
    <dgm:cxn modelId="{36F3B3C0-489B-42B4-94CA-CED436A2B6F2}" type="presParOf" srcId="{3A929C0E-81FB-4E7A-BE59-62AB48FCBF88}" destId="{209ADEF1-73DF-445E-821E-111D0C0ECE48}" srcOrd="2" destOrd="0" presId="urn:microsoft.com/office/officeart/2005/8/layout/orgChart1"/>
    <dgm:cxn modelId="{D170EF86-A52D-420E-AECC-9A07DCFBF296}" type="presParOf" srcId="{0D2FB71C-9870-4800-99B8-E9BCED327B60}" destId="{0513B296-BBE7-4146-9B5C-663C91C280DB}" srcOrd="4" destOrd="0" presId="urn:microsoft.com/office/officeart/2005/8/layout/orgChart1"/>
    <dgm:cxn modelId="{0E43B838-F283-4433-95F0-3F2D3B362B67}" type="presParOf" srcId="{0D2FB71C-9870-4800-99B8-E9BCED327B60}" destId="{B8858D5F-7F88-42D1-9217-E0B98A94FD47}" srcOrd="5" destOrd="0" presId="urn:microsoft.com/office/officeart/2005/8/layout/orgChart1"/>
    <dgm:cxn modelId="{29613BDF-DF21-48E4-8DA0-BCC9535B28D7}" type="presParOf" srcId="{B8858D5F-7F88-42D1-9217-E0B98A94FD47}" destId="{24AEDB05-C598-4D63-A24B-484993FF08B2}" srcOrd="0" destOrd="0" presId="urn:microsoft.com/office/officeart/2005/8/layout/orgChart1"/>
    <dgm:cxn modelId="{A4D2DEA4-8240-4ACA-8D64-C91978C794C9}" type="presParOf" srcId="{24AEDB05-C598-4D63-A24B-484993FF08B2}" destId="{F470B49C-FBB9-45ED-A78A-B1F71A6D76AD}" srcOrd="0" destOrd="0" presId="urn:microsoft.com/office/officeart/2005/8/layout/orgChart1"/>
    <dgm:cxn modelId="{0C57ACFA-E482-43E9-AC52-3CAA3DA7AD61}" type="presParOf" srcId="{24AEDB05-C598-4D63-A24B-484993FF08B2}" destId="{81388B3A-C50A-4FAA-BF40-8230A03C9B9A}" srcOrd="1" destOrd="0" presId="urn:microsoft.com/office/officeart/2005/8/layout/orgChart1"/>
    <dgm:cxn modelId="{542A2A8E-C229-447D-BED4-97682B9222D6}" type="presParOf" srcId="{B8858D5F-7F88-42D1-9217-E0B98A94FD47}" destId="{CB51F144-535B-4F4B-BBE8-2C80F6F7F0F9}" srcOrd="1" destOrd="0" presId="urn:microsoft.com/office/officeart/2005/8/layout/orgChart1"/>
    <dgm:cxn modelId="{E222C669-C48E-4EDF-8078-F3D27DDA6DFE}" type="presParOf" srcId="{B8858D5F-7F88-42D1-9217-E0B98A94FD47}" destId="{259FE6F9-A254-4881-B500-D9A71E5D65D2}" srcOrd="2" destOrd="0" presId="urn:microsoft.com/office/officeart/2005/8/layout/orgChart1"/>
    <dgm:cxn modelId="{DE69F1DE-F095-4352-A792-6A13CBA205C0}" type="presParOf" srcId="{0D2FB71C-9870-4800-99B8-E9BCED327B60}" destId="{47F1120A-A083-49E8-9E5C-CE1F6413F9BB}" srcOrd="6" destOrd="0" presId="urn:microsoft.com/office/officeart/2005/8/layout/orgChart1"/>
    <dgm:cxn modelId="{9B52C870-CF48-42A6-A2FD-C3F52CDAC759}" type="presParOf" srcId="{0D2FB71C-9870-4800-99B8-E9BCED327B60}" destId="{59794096-81C7-41A7-8BC8-A5D7F3FC85FE}" srcOrd="7" destOrd="0" presId="urn:microsoft.com/office/officeart/2005/8/layout/orgChart1"/>
    <dgm:cxn modelId="{A8A5B122-37FC-4AF4-9578-09CCC356AE7C}" type="presParOf" srcId="{59794096-81C7-41A7-8BC8-A5D7F3FC85FE}" destId="{22EBDFD3-E422-4965-BF60-7CDD7822315D}" srcOrd="0" destOrd="0" presId="urn:microsoft.com/office/officeart/2005/8/layout/orgChart1"/>
    <dgm:cxn modelId="{8E3ECCDC-2BBC-4DC0-BB30-E9ECCCD55088}" type="presParOf" srcId="{22EBDFD3-E422-4965-BF60-7CDD7822315D}" destId="{20731877-7187-429D-B3A8-7DECDA5070FE}" srcOrd="0" destOrd="0" presId="urn:microsoft.com/office/officeart/2005/8/layout/orgChart1"/>
    <dgm:cxn modelId="{29B273FA-886A-4B34-AE0A-6A93858972D1}" type="presParOf" srcId="{22EBDFD3-E422-4965-BF60-7CDD7822315D}" destId="{B64ED020-C463-49FF-8094-016150B2A60C}" srcOrd="1" destOrd="0" presId="urn:microsoft.com/office/officeart/2005/8/layout/orgChart1"/>
    <dgm:cxn modelId="{F91E3995-A8A3-49DE-BA77-F00AA3311911}" type="presParOf" srcId="{59794096-81C7-41A7-8BC8-A5D7F3FC85FE}" destId="{EA9BAB9B-5E77-475B-AE9C-0CBD4E07AB33}" srcOrd="1" destOrd="0" presId="urn:microsoft.com/office/officeart/2005/8/layout/orgChart1"/>
    <dgm:cxn modelId="{A09D0816-CAF4-4428-A158-FFF27F250883}" type="presParOf" srcId="{59794096-81C7-41A7-8BC8-A5D7F3FC85FE}" destId="{FB48E384-92C0-4C77-BF57-00E2BB453755}" srcOrd="2" destOrd="0" presId="urn:microsoft.com/office/officeart/2005/8/layout/orgChart1"/>
    <dgm:cxn modelId="{84C1FAB4-6FC3-4F97-9960-30916909DC48}" type="presParOf" srcId="{0D2FB71C-9870-4800-99B8-E9BCED327B60}" destId="{5FD6F4FB-DDB8-4ECF-B98C-0BEC42938CD3}" srcOrd="8" destOrd="0" presId="urn:microsoft.com/office/officeart/2005/8/layout/orgChart1"/>
    <dgm:cxn modelId="{B09643B1-5A14-4B28-9CA5-B7F4F606DA67}" type="presParOf" srcId="{0D2FB71C-9870-4800-99B8-E9BCED327B60}" destId="{09C1AAE6-97D2-45F0-AA5F-3BDB24EEADC8}" srcOrd="9" destOrd="0" presId="urn:microsoft.com/office/officeart/2005/8/layout/orgChart1"/>
    <dgm:cxn modelId="{DB28DC2D-E392-40C7-AFBD-84030EAF74BB}" type="presParOf" srcId="{09C1AAE6-97D2-45F0-AA5F-3BDB24EEADC8}" destId="{8DBA0E44-5570-43AF-832B-1A54869FDB2A}" srcOrd="0" destOrd="0" presId="urn:microsoft.com/office/officeart/2005/8/layout/orgChart1"/>
    <dgm:cxn modelId="{43B43745-229F-47E6-B40A-BBD8F34817DB}" type="presParOf" srcId="{8DBA0E44-5570-43AF-832B-1A54869FDB2A}" destId="{1A8B11D2-3342-43F5-B281-F26FA4BDE16F}" srcOrd="0" destOrd="0" presId="urn:microsoft.com/office/officeart/2005/8/layout/orgChart1"/>
    <dgm:cxn modelId="{EFA43D7A-26FA-4C36-85A6-3690B3B4D6E6}" type="presParOf" srcId="{8DBA0E44-5570-43AF-832B-1A54869FDB2A}" destId="{B991F8E7-E96B-4D05-AE80-B5FE9647EED7}" srcOrd="1" destOrd="0" presId="urn:microsoft.com/office/officeart/2005/8/layout/orgChart1"/>
    <dgm:cxn modelId="{C1CA1F55-E782-4452-A7FE-7E32D97B023E}" type="presParOf" srcId="{09C1AAE6-97D2-45F0-AA5F-3BDB24EEADC8}" destId="{27FC1422-098A-4B73-9241-2A583A938843}" srcOrd="1" destOrd="0" presId="urn:microsoft.com/office/officeart/2005/8/layout/orgChart1"/>
    <dgm:cxn modelId="{EC7E134F-129B-4DC3-9F98-70724C0A9CF7}" type="presParOf" srcId="{09C1AAE6-97D2-45F0-AA5F-3BDB24EEADC8}" destId="{9D794841-7694-453F-AF78-B2CE32D1AA95}" srcOrd="2" destOrd="0" presId="urn:microsoft.com/office/officeart/2005/8/layout/orgChart1"/>
    <dgm:cxn modelId="{8543ABE9-1960-44BD-B630-123607681FC5}" type="presParOf" srcId="{0D2FB71C-9870-4800-99B8-E9BCED327B60}" destId="{2A44425D-D7C8-40F6-A0F1-CB9AD593B73B}" srcOrd="10" destOrd="0" presId="urn:microsoft.com/office/officeart/2005/8/layout/orgChart1"/>
    <dgm:cxn modelId="{F007740E-A44B-4E36-86B1-371BFA93F9E6}" type="presParOf" srcId="{0D2FB71C-9870-4800-99B8-E9BCED327B60}" destId="{425919B7-9E1B-4C61-BBA5-3B5568B3D22D}" srcOrd="11" destOrd="0" presId="urn:microsoft.com/office/officeart/2005/8/layout/orgChart1"/>
    <dgm:cxn modelId="{509AA0F9-F9B1-4346-BB7B-BAE011DB1FC0}" type="presParOf" srcId="{425919B7-9E1B-4C61-BBA5-3B5568B3D22D}" destId="{FC05B788-26A6-4CD1-9579-8AD4F5122318}" srcOrd="0" destOrd="0" presId="urn:microsoft.com/office/officeart/2005/8/layout/orgChart1"/>
    <dgm:cxn modelId="{0F64A06B-DD6E-4349-9F4C-4551EF50BCA7}" type="presParOf" srcId="{FC05B788-26A6-4CD1-9579-8AD4F5122318}" destId="{043824C3-24DA-4A30-A957-CD48C867E7EB}" srcOrd="0" destOrd="0" presId="urn:microsoft.com/office/officeart/2005/8/layout/orgChart1"/>
    <dgm:cxn modelId="{CED92578-4BC2-4F81-9EF7-5D6C84232F97}" type="presParOf" srcId="{FC05B788-26A6-4CD1-9579-8AD4F5122318}" destId="{8A5A4975-D139-4DFF-BF92-2C4891FCFD7D}" srcOrd="1" destOrd="0" presId="urn:microsoft.com/office/officeart/2005/8/layout/orgChart1"/>
    <dgm:cxn modelId="{C38B836C-9F5C-42F9-9032-C127E36FFD08}" type="presParOf" srcId="{425919B7-9E1B-4C61-BBA5-3B5568B3D22D}" destId="{C4C88432-A0E0-466E-93A2-DB3F93B5EF73}" srcOrd="1" destOrd="0" presId="urn:microsoft.com/office/officeart/2005/8/layout/orgChart1"/>
    <dgm:cxn modelId="{ACF359BA-0648-4719-B50D-5834F6172674}" type="presParOf" srcId="{425919B7-9E1B-4C61-BBA5-3B5568B3D22D}" destId="{A7715335-09D7-4946-B779-A42808A7EC71}" srcOrd="2" destOrd="0" presId="urn:microsoft.com/office/officeart/2005/8/layout/orgChart1"/>
    <dgm:cxn modelId="{356845F3-D3EA-418D-837F-97ACF4BE8AF1}" type="presParOf" srcId="{0D2FB71C-9870-4800-99B8-E9BCED327B60}" destId="{D9E992A6-A633-4754-A876-B06BF9F7A37B}" srcOrd="12" destOrd="0" presId="urn:microsoft.com/office/officeart/2005/8/layout/orgChart1"/>
    <dgm:cxn modelId="{851B2B1D-A1EE-446E-810F-CEFD672B6F50}" type="presParOf" srcId="{0D2FB71C-9870-4800-99B8-E9BCED327B60}" destId="{C8EFECE9-7CC0-4C94-BC3C-8CE7CF6FB630}" srcOrd="13" destOrd="0" presId="urn:microsoft.com/office/officeart/2005/8/layout/orgChart1"/>
    <dgm:cxn modelId="{FC030F2E-A4EA-41BC-B11D-36751BCE6FDD}" type="presParOf" srcId="{C8EFECE9-7CC0-4C94-BC3C-8CE7CF6FB630}" destId="{B0F2454C-1505-45FF-95F9-BF53329A8B26}" srcOrd="0" destOrd="0" presId="urn:microsoft.com/office/officeart/2005/8/layout/orgChart1"/>
    <dgm:cxn modelId="{E97A4EA6-F470-4EF4-A51D-095CCB5217E0}" type="presParOf" srcId="{B0F2454C-1505-45FF-95F9-BF53329A8B26}" destId="{93FCE660-DDC3-4AB5-B916-99CEE63A83BE}" srcOrd="0" destOrd="0" presId="urn:microsoft.com/office/officeart/2005/8/layout/orgChart1"/>
    <dgm:cxn modelId="{5F237667-3A6A-45B6-9BCA-AE94B30909CF}" type="presParOf" srcId="{B0F2454C-1505-45FF-95F9-BF53329A8B26}" destId="{A9406A68-DF67-4473-ACC1-B0C98CF9EF57}" srcOrd="1" destOrd="0" presId="urn:microsoft.com/office/officeart/2005/8/layout/orgChart1"/>
    <dgm:cxn modelId="{543D8B5E-FC19-4AA4-9B7B-24DE16498559}" type="presParOf" srcId="{C8EFECE9-7CC0-4C94-BC3C-8CE7CF6FB630}" destId="{CD10DD08-9C09-4AEA-82BC-62178C8FAE16}" srcOrd="1" destOrd="0" presId="urn:microsoft.com/office/officeart/2005/8/layout/orgChart1"/>
    <dgm:cxn modelId="{9B955BEC-EA28-488E-A314-A8F78CB91C2B}" type="presParOf" srcId="{C8EFECE9-7CC0-4C94-BC3C-8CE7CF6FB630}" destId="{C89D0D45-3664-44AC-BDAC-3B543E36099A}" srcOrd="2" destOrd="0" presId="urn:microsoft.com/office/officeart/2005/8/layout/orgChart1"/>
    <dgm:cxn modelId="{708244FF-E143-488D-A7C6-E9CC48456888}" type="presParOf" srcId="{B016AF52-EF24-48EA-B883-B7A6EEBD317C}" destId="{A2B46BB7-F381-46BB-BC2D-7BE85501FBCC}" srcOrd="2" destOrd="0" presId="urn:microsoft.com/office/officeart/2005/8/layout/orgChart1"/>
    <dgm:cxn modelId="{7CCCE7B1-6E03-40E2-A094-12F4E97D6AC1}" type="presParOf" srcId="{FB279467-F3D0-4A2A-9DFD-7DF66D00DCAB}" destId="{D141E0DF-F6A8-42EF-9C5A-D0A3BD548DD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A21CE9-A7A8-4EE0-8D08-C3300B5032C0}"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GB"/>
        </a:p>
      </dgm:t>
    </dgm:pt>
    <dgm:pt modelId="{D9A67AE4-4575-43B7-A6F3-0BD58EA221F0}">
      <dgm:prSet phldrT="[Text]" custT="1"/>
      <dgm:spPr>
        <a:xfrm>
          <a:off x="6871" y="76796"/>
          <a:ext cx="11569409" cy="761060"/>
        </a:xfrm>
        <a:prstGeom prst="rect">
          <a:avLst/>
        </a:prstGeom>
        <a:solidFill>
          <a:srgbClr val="679F81"/>
        </a:solidFill>
        <a:ln w="12700" cap="flat" cmpd="sng" algn="ctr">
          <a:noFill/>
          <a:prstDash val="solid"/>
          <a:miter lim="800000"/>
        </a:ln>
        <a:effectLst/>
      </dgm:spPr>
      <dgm:t>
        <a:bodyPr/>
        <a:lstStyle/>
        <a:p>
          <a:r>
            <a:rPr lang="en-ZA" sz="2000" b="1" dirty="0" smtClean="0">
              <a:solidFill>
                <a:sysClr val="window" lastClr="FFFFFF"/>
              </a:solidFill>
              <a:latin typeface="Lato"/>
              <a:ea typeface="+mn-ea"/>
              <a:cs typeface="+mn-cs"/>
            </a:rPr>
            <a:t>Solution Statement Support:</a:t>
          </a:r>
        </a:p>
        <a:p>
          <a:r>
            <a:rPr lang="en-ZA" sz="2000" b="1" dirty="0" smtClean="0">
              <a:solidFill>
                <a:sysClr val="window" lastClr="FFFFFF"/>
              </a:solidFill>
              <a:latin typeface="Lato"/>
              <a:ea typeface="+mn-ea"/>
              <a:cs typeface="+mn-cs"/>
            </a:rPr>
            <a:t>High performing ethical organisation</a:t>
          </a:r>
          <a:endParaRPr lang="en-GB" sz="2000" b="1" dirty="0">
            <a:solidFill>
              <a:sysClr val="window" lastClr="FFFFFF"/>
            </a:solidFill>
            <a:latin typeface="Lato"/>
            <a:ea typeface="+mn-ea"/>
            <a:cs typeface="+mn-cs"/>
          </a:endParaRPr>
        </a:p>
      </dgm:t>
    </dgm:pt>
    <dgm:pt modelId="{39C1069B-DA89-4843-9365-C76A128E71C3}" type="parTrans" cxnId="{0DFC5457-C539-4339-BB3F-CF4545C5A9C3}">
      <dgm:prSet/>
      <dgm:spPr/>
      <dgm:t>
        <a:bodyPr/>
        <a:lstStyle/>
        <a:p>
          <a:endParaRPr lang="en-GB"/>
        </a:p>
      </dgm:t>
    </dgm:pt>
    <dgm:pt modelId="{396C6420-8006-4594-B3E6-C40C0F01C177}" type="sibTrans" cxnId="{0DFC5457-C539-4339-BB3F-CF4545C5A9C3}">
      <dgm:prSet/>
      <dgm:spPr/>
      <dgm:t>
        <a:bodyPr/>
        <a:lstStyle/>
        <a:p>
          <a:endParaRPr lang="en-GB"/>
        </a:p>
      </dgm:t>
    </dgm:pt>
    <dgm:pt modelId="{3FA8E52E-41A8-4B79-88F3-ABDEBF17CD17}">
      <dgm:prSet phldrT="[Text]" custT="1"/>
      <dgm:spPr>
        <a:xfrm>
          <a:off x="32817" y="963521"/>
          <a:ext cx="2749662" cy="547946"/>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300" dirty="0" smtClean="0">
              <a:solidFill>
                <a:sysClr val="windowText" lastClr="000000"/>
              </a:solidFill>
              <a:latin typeface="Lato"/>
              <a:ea typeface="+mn-ea"/>
              <a:cs typeface="+mn-cs"/>
            </a:rPr>
            <a:t>Intervention:</a:t>
          </a:r>
        </a:p>
        <a:p>
          <a:pPr>
            <a:spcAft>
              <a:spcPts val="0"/>
            </a:spcAft>
          </a:pPr>
          <a:r>
            <a:rPr lang="en-ZA" sz="1300" dirty="0" smtClean="0">
              <a:solidFill>
                <a:sysClr val="windowText" lastClr="000000"/>
              </a:solidFill>
              <a:latin typeface="Lato"/>
              <a:ea typeface="+mn-ea"/>
              <a:cs typeface="+mn-cs"/>
            </a:rPr>
            <a:t>Automation and integration of systems</a:t>
          </a:r>
          <a:endParaRPr lang="en-GB" sz="1300" dirty="0">
            <a:solidFill>
              <a:sysClr val="windowText" lastClr="000000"/>
            </a:solidFill>
            <a:latin typeface="Lato"/>
            <a:ea typeface="+mn-ea"/>
            <a:cs typeface="+mn-cs"/>
          </a:endParaRPr>
        </a:p>
      </dgm:t>
    </dgm:pt>
    <dgm:pt modelId="{3DAC40A4-5971-441F-9133-8187AFA97BC7}" type="parTrans" cxnId="{34619154-2874-42E1-B530-942BF7DE9588}">
      <dgm:prSet/>
      <dgm:spPr>
        <a:xfrm>
          <a:off x="1407648" y="837857"/>
          <a:ext cx="4383927" cy="125664"/>
        </a:xfrm>
        <a:custGeom>
          <a:avLst/>
          <a:gdLst/>
          <a:ahLst/>
          <a:cxnLst/>
          <a:rect l="0" t="0" r="0" b="0"/>
          <a:pathLst>
            <a:path>
              <a:moveTo>
                <a:pt x="4383927" y="0"/>
              </a:moveTo>
              <a:lnTo>
                <a:pt x="4383927" y="54215"/>
              </a:lnTo>
              <a:lnTo>
                <a:pt x="0" y="54215"/>
              </a:lnTo>
              <a:lnTo>
                <a:pt x="0" y="125664"/>
              </a:lnTo>
            </a:path>
          </a:pathLst>
        </a:custGeom>
        <a:noFill/>
        <a:ln w="12700" cap="flat" cmpd="sng" algn="ctr">
          <a:noFill/>
          <a:prstDash val="solid"/>
          <a:miter lim="800000"/>
        </a:ln>
        <a:effectLst/>
      </dgm:spPr>
      <dgm:t>
        <a:bodyPr/>
        <a:lstStyle/>
        <a:p>
          <a:endParaRPr lang="en-GB"/>
        </a:p>
      </dgm:t>
    </dgm:pt>
    <dgm:pt modelId="{C6B1D5F1-D291-4575-A8D3-D12B8411F8B8}" type="sibTrans" cxnId="{34619154-2874-42E1-B530-942BF7DE9588}">
      <dgm:prSet/>
      <dgm:spPr/>
      <dgm:t>
        <a:bodyPr/>
        <a:lstStyle/>
        <a:p>
          <a:endParaRPr lang="en-GB"/>
        </a:p>
      </dgm:t>
    </dgm:pt>
    <dgm:pt modelId="{C210B5A7-FC8F-4CFB-888B-78A66105B5E3}">
      <dgm:prSet phldrT="[Text]" custT="1"/>
      <dgm:spPr>
        <a:xfrm>
          <a:off x="2947397" y="960235"/>
          <a:ext cx="2749662" cy="547946"/>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300" dirty="0" smtClean="0">
              <a:solidFill>
                <a:sysClr val="windowText" lastClr="000000"/>
              </a:solidFill>
              <a:latin typeface="Lato"/>
              <a:ea typeface="+mn-ea"/>
              <a:cs typeface="+mn-cs"/>
            </a:rPr>
            <a:t>Intervention: </a:t>
          </a:r>
        </a:p>
        <a:p>
          <a:pPr>
            <a:spcAft>
              <a:spcPts val="0"/>
            </a:spcAft>
          </a:pPr>
          <a:r>
            <a:rPr lang="en-ZA" sz="1300" dirty="0" smtClean="0">
              <a:solidFill>
                <a:sysClr val="windowText" lastClr="000000"/>
              </a:solidFill>
              <a:latin typeface="Lato"/>
              <a:ea typeface="+mn-ea"/>
              <a:cs typeface="+mn-cs"/>
            </a:rPr>
            <a:t>Strategic Human Resource Management </a:t>
          </a:r>
          <a:endParaRPr lang="en-GB" sz="1300" dirty="0">
            <a:solidFill>
              <a:sysClr val="windowText" lastClr="000000"/>
            </a:solidFill>
            <a:latin typeface="Lato"/>
            <a:ea typeface="+mn-ea"/>
            <a:cs typeface="+mn-cs"/>
          </a:endParaRPr>
        </a:p>
      </dgm:t>
    </dgm:pt>
    <dgm:pt modelId="{C86C1488-BD31-4F23-97DB-7C2B89FF3AD9}" type="parTrans" cxnId="{7CE4B070-D832-43BE-B048-E7B02A1AFA58}">
      <dgm:prSet/>
      <dgm:spPr>
        <a:xfrm>
          <a:off x="4322228" y="837857"/>
          <a:ext cx="1469347" cy="122377"/>
        </a:xfrm>
        <a:custGeom>
          <a:avLst/>
          <a:gdLst/>
          <a:ahLst/>
          <a:cxnLst/>
          <a:rect l="0" t="0" r="0" b="0"/>
          <a:pathLst>
            <a:path>
              <a:moveTo>
                <a:pt x="1469347" y="0"/>
              </a:moveTo>
              <a:lnTo>
                <a:pt x="1469347" y="50929"/>
              </a:lnTo>
              <a:lnTo>
                <a:pt x="0" y="50929"/>
              </a:lnTo>
              <a:lnTo>
                <a:pt x="0" y="122377"/>
              </a:lnTo>
            </a:path>
          </a:pathLst>
        </a:custGeom>
        <a:noFill/>
        <a:ln w="12700" cap="flat" cmpd="sng" algn="ctr">
          <a:noFill/>
          <a:prstDash val="solid"/>
          <a:miter lim="800000"/>
        </a:ln>
        <a:effectLst/>
      </dgm:spPr>
      <dgm:t>
        <a:bodyPr/>
        <a:lstStyle/>
        <a:p>
          <a:endParaRPr lang="en-GB"/>
        </a:p>
      </dgm:t>
    </dgm:pt>
    <dgm:pt modelId="{FFD25E3B-8967-48DE-80D4-340F432E9169}" type="sibTrans" cxnId="{7CE4B070-D832-43BE-B048-E7B02A1AFA58}">
      <dgm:prSet/>
      <dgm:spPr/>
      <dgm:t>
        <a:bodyPr/>
        <a:lstStyle/>
        <a:p>
          <a:endParaRPr lang="en-GB"/>
        </a:p>
      </dgm:t>
    </dgm:pt>
    <dgm:pt modelId="{E506AFA8-1B82-43BC-98C8-F80DC54DD35B}">
      <dgm:prSet phldrT="[Text]" custT="1"/>
      <dgm:spPr>
        <a:xfrm>
          <a:off x="110905" y="1633808"/>
          <a:ext cx="2653928" cy="71032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Automation of business process for accurate, reliable, timeous and relevant information</a:t>
          </a:r>
          <a:endParaRPr lang="en-GB" sz="1200" dirty="0" smtClean="0">
            <a:solidFill>
              <a:sysClr val="windowText" lastClr="000000"/>
            </a:solidFill>
            <a:latin typeface="Lato"/>
            <a:ea typeface="+mn-ea"/>
            <a:cs typeface="+mn-cs"/>
          </a:endParaRPr>
        </a:p>
      </dgm:t>
    </dgm:pt>
    <dgm:pt modelId="{EF5E585F-3673-4CC4-9E22-D48DF4FE27E6}" type="parTrans" cxnId="{557D6E5E-59E9-43D7-8845-F7FB07D1F166}">
      <dgm:prSet/>
      <dgm:spPr>
        <a:xfrm>
          <a:off x="110905" y="1511468"/>
          <a:ext cx="196878" cy="477503"/>
        </a:xfrm>
        <a:custGeom>
          <a:avLst/>
          <a:gdLst/>
          <a:ahLst/>
          <a:cxnLst/>
          <a:rect l="0" t="0" r="0" b="0"/>
          <a:pathLst>
            <a:path>
              <a:moveTo>
                <a:pt x="196878" y="0"/>
              </a:moveTo>
              <a:lnTo>
                <a:pt x="0" y="477503"/>
              </a:lnTo>
            </a:path>
          </a:pathLst>
        </a:custGeom>
        <a:noFill/>
        <a:ln w="12700" cap="flat" cmpd="sng" algn="ctr">
          <a:noFill/>
          <a:prstDash val="solid"/>
          <a:miter lim="800000"/>
        </a:ln>
        <a:effectLst/>
      </dgm:spPr>
      <dgm:t>
        <a:bodyPr/>
        <a:lstStyle/>
        <a:p>
          <a:endParaRPr lang="en-GB"/>
        </a:p>
      </dgm:t>
    </dgm:pt>
    <dgm:pt modelId="{1E24B422-6D41-454D-BA4B-D634E2BDF376}" type="sibTrans" cxnId="{557D6E5E-59E9-43D7-8845-F7FB07D1F166}">
      <dgm:prSet/>
      <dgm:spPr/>
      <dgm:t>
        <a:bodyPr/>
        <a:lstStyle/>
        <a:p>
          <a:endParaRPr lang="en-GB"/>
        </a:p>
      </dgm:t>
    </dgm:pt>
    <dgm:pt modelId="{2758B6C3-6786-4A0A-94BA-3C0B87000D62}">
      <dgm:prSet phldrT="[Text]" custT="1"/>
      <dgm:spPr>
        <a:xfrm>
          <a:off x="122466" y="2452888"/>
          <a:ext cx="2653928" cy="55247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Single view of offender (Integrated Inmate Management System)</a:t>
          </a:r>
          <a:endParaRPr lang="en-GB" sz="1200" dirty="0">
            <a:solidFill>
              <a:sysClr val="windowText" lastClr="000000"/>
            </a:solidFill>
            <a:latin typeface="Lato"/>
            <a:ea typeface="+mn-ea"/>
            <a:cs typeface="+mn-cs"/>
          </a:endParaRPr>
        </a:p>
      </dgm:t>
    </dgm:pt>
    <dgm:pt modelId="{9C577F41-001A-42AE-AABF-54268D15A364}" type="parTrans" cxnId="{CBEFB157-E296-4AF9-B054-3EE90D429E38}">
      <dgm:prSet/>
      <dgm:spPr>
        <a:xfrm>
          <a:off x="122466" y="1511468"/>
          <a:ext cx="185316" cy="1217657"/>
        </a:xfrm>
        <a:custGeom>
          <a:avLst/>
          <a:gdLst/>
          <a:ahLst/>
          <a:cxnLst/>
          <a:rect l="0" t="0" r="0" b="0"/>
          <a:pathLst>
            <a:path>
              <a:moveTo>
                <a:pt x="185316" y="0"/>
              </a:moveTo>
              <a:lnTo>
                <a:pt x="0" y="1217657"/>
              </a:lnTo>
            </a:path>
          </a:pathLst>
        </a:custGeom>
        <a:noFill/>
        <a:ln w="12700" cap="flat" cmpd="sng" algn="ctr">
          <a:noFill/>
          <a:prstDash val="solid"/>
          <a:miter lim="800000"/>
        </a:ln>
        <a:effectLst/>
      </dgm:spPr>
      <dgm:t>
        <a:bodyPr/>
        <a:lstStyle/>
        <a:p>
          <a:endParaRPr lang="en-GB"/>
        </a:p>
      </dgm:t>
    </dgm:pt>
    <dgm:pt modelId="{0F2659BC-333B-4BFD-B380-C47321237054}" type="sibTrans" cxnId="{CBEFB157-E296-4AF9-B054-3EE90D429E38}">
      <dgm:prSet/>
      <dgm:spPr/>
      <dgm:t>
        <a:bodyPr/>
        <a:lstStyle/>
        <a:p>
          <a:endParaRPr lang="en-GB"/>
        </a:p>
      </dgm:t>
    </dgm:pt>
    <dgm:pt modelId="{2F5C0CB3-A347-4DB6-A843-8920EBFA59B6}">
      <dgm:prSet phldrT="[Text]" custT="1"/>
      <dgm:spPr>
        <a:xfrm>
          <a:off x="122466" y="3103935"/>
          <a:ext cx="2653928" cy="56535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400" dirty="0" smtClean="0">
              <a:solidFill>
                <a:sysClr val="windowText" lastClr="000000"/>
              </a:solidFill>
              <a:latin typeface="Lato"/>
              <a:ea typeface="+mn-ea"/>
              <a:cs typeface="+mn-cs"/>
            </a:rPr>
            <a:t>Digitalise identity for offenders, officials, visitors, stakeholders</a:t>
          </a:r>
        </a:p>
      </dgm:t>
    </dgm:pt>
    <dgm:pt modelId="{6FA0B268-20E6-499D-A943-270BC5C30AC9}" type="parTrans" cxnId="{4D0D2DBF-09D6-4DEC-9CC7-E883F97C5197}">
      <dgm:prSet/>
      <dgm:spPr>
        <a:xfrm>
          <a:off x="122466" y="1511468"/>
          <a:ext cx="185316" cy="1875146"/>
        </a:xfrm>
        <a:custGeom>
          <a:avLst/>
          <a:gdLst/>
          <a:ahLst/>
          <a:cxnLst/>
          <a:rect l="0" t="0" r="0" b="0"/>
          <a:pathLst>
            <a:path>
              <a:moveTo>
                <a:pt x="185316" y="0"/>
              </a:moveTo>
              <a:lnTo>
                <a:pt x="0" y="1875146"/>
              </a:lnTo>
            </a:path>
          </a:pathLst>
        </a:custGeom>
        <a:noFill/>
        <a:ln w="12700" cap="flat" cmpd="sng" algn="ctr">
          <a:noFill/>
          <a:prstDash val="solid"/>
          <a:miter lim="800000"/>
        </a:ln>
        <a:effectLst/>
      </dgm:spPr>
      <dgm:t>
        <a:bodyPr/>
        <a:lstStyle/>
        <a:p>
          <a:endParaRPr lang="en-GB"/>
        </a:p>
      </dgm:t>
    </dgm:pt>
    <dgm:pt modelId="{677BD7D6-19D5-4D7B-8449-37BF39C7EDD8}" type="sibTrans" cxnId="{4D0D2DBF-09D6-4DEC-9CC7-E883F97C5197}">
      <dgm:prSet/>
      <dgm:spPr/>
      <dgm:t>
        <a:bodyPr/>
        <a:lstStyle/>
        <a:p>
          <a:endParaRPr lang="en-GB"/>
        </a:p>
      </dgm:t>
    </dgm:pt>
    <dgm:pt modelId="{E59C7045-2EF3-4659-8457-FC2DC2C82928}">
      <dgm:prSet phldrT="[Text]" custT="1"/>
      <dgm:spPr>
        <a:xfrm>
          <a:off x="122466" y="3802794"/>
          <a:ext cx="2653928" cy="56535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Integration of security technology and information network.</a:t>
          </a:r>
          <a:endParaRPr lang="en-GB" sz="1400" dirty="0" smtClean="0">
            <a:solidFill>
              <a:sysClr val="windowText" lastClr="000000"/>
            </a:solidFill>
            <a:latin typeface="Lato"/>
            <a:ea typeface="+mn-ea"/>
            <a:cs typeface="+mn-cs"/>
          </a:endParaRPr>
        </a:p>
      </dgm:t>
    </dgm:pt>
    <dgm:pt modelId="{B0DC9A8E-7A12-4BF0-8A96-882866292D90}" type="parTrans" cxnId="{24106185-18D9-48B1-AAE2-4FC69831F042}">
      <dgm:prSet/>
      <dgm:spPr>
        <a:xfrm>
          <a:off x="122466" y="1511468"/>
          <a:ext cx="185316" cy="2574006"/>
        </a:xfrm>
        <a:custGeom>
          <a:avLst/>
          <a:gdLst/>
          <a:ahLst/>
          <a:cxnLst/>
          <a:rect l="0" t="0" r="0" b="0"/>
          <a:pathLst>
            <a:path>
              <a:moveTo>
                <a:pt x="185316" y="0"/>
              </a:moveTo>
              <a:lnTo>
                <a:pt x="0" y="2574006"/>
              </a:lnTo>
            </a:path>
          </a:pathLst>
        </a:custGeom>
        <a:noFill/>
        <a:ln w="12700" cap="flat" cmpd="sng" algn="ctr">
          <a:noFill/>
          <a:prstDash val="solid"/>
          <a:miter lim="800000"/>
        </a:ln>
        <a:effectLst/>
      </dgm:spPr>
      <dgm:t>
        <a:bodyPr/>
        <a:lstStyle/>
        <a:p>
          <a:endParaRPr lang="en-GB"/>
        </a:p>
      </dgm:t>
    </dgm:pt>
    <dgm:pt modelId="{EBD21BEC-BB3F-4363-BD34-812CD6EAD19C}" type="sibTrans" cxnId="{24106185-18D9-48B1-AAE2-4FC69831F042}">
      <dgm:prSet/>
      <dgm:spPr/>
      <dgm:t>
        <a:bodyPr/>
        <a:lstStyle/>
        <a:p>
          <a:endParaRPr lang="en-GB"/>
        </a:p>
      </dgm:t>
    </dgm:pt>
    <dgm:pt modelId="{7741473B-E186-4580-BC20-E482C22F84BC}">
      <dgm:prSet phldrT="[Text]" custT="1"/>
      <dgm:spPr>
        <a:xfrm>
          <a:off x="122466" y="4517607"/>
          <a:ext cx="2653928" cy="56535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Upgrade and implement security technology</a:t>
          </a:r>
          <a:endParaRPr lang="en-GB" sz="1600" dirty="0" smtClean="0">
            <a:solidFill>
              <a:sysClr val="windowText" lastClr="000000"/>
            </a:solidFill>
            <a:latin typeface="Lato"/>
            <a:ea typeface="+mn-ea"/>
            <a:cs typeface="+mn-cs"/>
          </a:endParaRPr>
        </a:p>
      </dgm:t>
    </dgm:pt>
    <dgm:pt modelId="{AD30EE2C-612E-4D7A-9A9D-63748E547A4E}" type="parTrans" cxnId="{5955092D-3D5D-4A47-A9F2-15D5112DA505}">
      <dgm:prSet/>
      <dgm:spPr>
        <a:xfrm>
          <a:off x="122466" y="1511468"/>
          <a:ext cx="185316" cy="3288818"/>
        </a:xfrm>
        <a:custGeom>
          <a:avLst/>
          <a:gdLst/>
          <a:ahLst/>
          <a:cxnLst/>
          <a:rect l="0" t="0" r="0" b="0"/>
          <a:pathLst>
            <a:path>
              <a:moveTo>
                <a:pt x="185316" y="0"/>
              </a:moveTo>
              <a:lnTo>
                <a:pt x="0" y="3288818"/>
              </a:lnTo>
            </a:path>
          </a:pathLst>
        </a:custGeom>
        <a:noFill/>
        <a:ln w="12700" cap="flat" cmpd="sng" algn="ctr">
          <a:noFill/>
          <a:prstDash val="solid"/>
          <a:miter lim="800000"/>
        </a:ln>
        <a:effectLst/>
      </dgm:spPr>
      <dgm:t>
        <a:bodyPr/>
        <a:lstStyle/>
        <a:p>
          <a:endParaRPr lang="en-GB"/>
        </a:p>
      </dgm:t>
    </dgm:pt>
    <dgm:pt modelId="{6C4AD7F0-8C67-48D0-A127-C28309A053BC}" type="sibTrans" cxnId="{5955092D-3D5D-4A47-A9F2-15D5112DA505}">
      <dgm:prSet/>
      <dgm:spPr/>
      <dgm:t>
        <a:bodyPr/>
        <a:lstStyle/>
        <a:p>
          <a:endParaRPr lang="en-GB"/>
        </a:p>
      </dgm:t>
    </dgm:pt>
    <dgm:pt modelId="{AC209003-8BA6-44DF-A8F6-9D2C5C73FF0B}">
      <dgm:prSet phldrT="[Text]" custT="1"/>
      <dgm:spPr>
        <a:xfrm>
          <a:off x="122466" y="5196117"/>
          <a:ext cx="2653928" cy="82871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Develop Infrastructure assessment plan to c</a:t>
          </a:r>
          <a:r>
            <a:rPr lang="en-ZA" sz="1200" dirty="0" smtClean="0">
              <a:solidFill>
                <a:sysClr val="windowText" lastClr="000000"/>
              </a:solidFill>
              <a:latin typeface="Lato"/>
              <a:ea typeface="+mn-ea"/>
              <a:cs typeface="+mn-cs"/>
            </a:rPr>
            <a:t>continuously maintain, support and upgrade the IT Infrastructure  </a:t>
          </a:r>
          <a:endParaRPr lang="en-GB" sz="1200" dirty="0">
            <a:solidFill>
              <a:sysClr val="windowText" lastClr="000000"/>
            </a:solidFill>
            <a:latin typeface="Lato"/>
            <a:ea typeface="+mn-ea"/>
            <a:cs typeface="+mn-cs"/>
          </a:endParaRPr>
        </a:p>
      </dgm:t>
    </dgm:pt>
    <dgm:pt modelId="{E6B68188-F1B4-4DE3-B26E-C5597DBA8B4B}" type="parTrans" cxnId="{B82820CA-B569-4FCD-AF8B-13796FC33CD6}">
      <dgm:prSet/>
      <dgm:spPr>
        <a:xfrm>
          <a:off x="122466" y="1511468"/>
          <a:ext cx="185316" cy="4099005"/>
        </a:xfrm>
        <a:custGeom>
          <a:avLst/>
          <a:gdLst/>
          <a:ahLst/>
          <a:cxnLst/>
          <a:rect l="0" t="0" r="0" b="0"/>
          <a:pathLst>
            <a:path>
              <a:moveTo>
                <a:pt x="185316" y="0"/>
              </a:moveTo>
              <a:lnTo>
                <a:pt x="0" y="4099005"/>
              </a:lnTo>
            </a:path>
          </a:pathLst>
        </a:custGeom>
        <a:noFill/>
        <a:ln w="12700" cap="flat" cmpd="sng" algn="ctr">
          <a:noFill/>
          <a:prstDash val="solid"/>
          <a:miter lim="800000"/>
        </a:ln>
        <a:effectLst/>
      </dgm:spPr>
      <dgm:t>
        <a:bodyPr/>
        <a:lstStyle/>
        <a:p>
          <a:endParaRPr lang="en-GB"/>
        </a:p>
      </dgm:t>
    </dgm:pt>
    <dgm:pt modelId="{AC6B0107-A7F4-48CD-AA7A-25D3230F9343}" type="sibTrans" cxnId="{B82820CA-B569-4FCD-AF8B-13796FC33CD6}">
      <dgm:prSet/>
      <dgm:spPr/>
      <dgm:t>
        <a:bodyPr/>
        <a:lstStyle/>
        <a:p>
          <a:endParaRPr lang="en-GB"/>
        </a:p>
      </dgm:t>
    </dgm:pt>
    <dgm:pt modelId="{8258131A-64F0-468E-89FA-30CD74677209}">
      <dgm:prSet phldrT="[Text]" custT="1"/>
      <dgm:spPr>
        <a:xfrm>
          <a:off x="3005418" y="1563064"/>
          <a:ext cx="2690278" cy="452848"/>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Full decentralisation of HR functions </a:t>
          </a:r>
          <a:endParaRPr lang="en-GB" sz="1400" dirty="0">
            <a:solidFill>
              <a:sysClr val="windowText" lastClr="000000"/>
            </a:solidFill>
            <a:latin typeface="Lato"/>
            <a:ea typeface="+mn-ea"/>
            <a:cs typeface="+mn-cs"/>
          </a:endParaRPr>
        </a:p>
      </dgm:t>
    </dgm:pt>
    <dgm:pt modelId="{FF33382B-89C8-4B25-8169-CD7550BE112E}" type="parTrans" cxnId="{A61C9F55-6449-4178-9CC6-F1D3CAA7F97D}">
      <dgm:prSet/>
      <dgm:spPr>
        <a:xfrm>
          <a:off x="3005418" y="1508181"/>
          <a:ext cx="216944" cy="281306"/>
        </a:xfrm>
        <a:custGeom>
          <a:avLst/>
          <a:gdLst/>
          <a:ahLst/>
          <a:cxnLst/>
          <a:rect l="0" t="0" r="0" b="0"/>
          <a:pathLst>
            <a:path>
              <a:moveTo>
                <a:pt x="216944" y="0"/>
              </a:moveTo>
              <a:lnTo>
                <a:pt x="0" y="281306"/>
              </a:lnTo>
            </a:path>
          </a:pathLst>
        </a:custGeom>
        <a:noFill/>
        <a:ln w="12700" cap="flat" cmpd="sng" algn="ctr">
          <a:noFill/>
          <a:prstDash val="solid"/>
          <a:miter lim="800000"/>
        </a:ln>
        <a:effectLst/>
      </dgm:spPr>
      <dgm:t>
        <a:bodyPr/>
        <a:lstStyle/>
        <a:p>
          <a:endParaRPr lang="en-GB"/>
        </a:p>
      </dgm:t>
    </dgm:pt>
    <dgm:pt modelId="{F2F6720F-1FA0-4D9D-AA63-E6FA9B6536EA}" type="sibTrans" cxnId="{A61C9F55-6449-4178-9CC6-F1D3CAA7F97D}">
      <dgm:prSet/>
      <dgm:spPr/>
      <dgm:t>
        <a:bodyPr/>
        <a:lstStyle/>
        <a:p>
          <a:endParaRPr lang="en-GB"/>
        </a:p>
      </dgm:t>
    </dgm:pt>
    <dgm:pt modelId="{DB7FB121-89FA-4FDA-BA06-6EB92D692684}">
      <dgm:prSet phldrT="[Text]" custT="1"/>
      <dgm:spPr>
        <a:xfrm>
          <a:off x="3019640" y="2070118"/>
          <a:ext cx="2690278" cy="45317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Consistent implementation of HR directives</a:t>
          </a:r>
          <a:endParaRPr lang="en-GB" sz="1200" dirty="0">
            <a:solidFill>
              <a:sysClr val="windowText" lastClr="000000"/>
            </a:solidFill>
            <a:latin typeface="Lato"/>
            <a:ea typeface="+mn-ea"/>
            <a:cs typeface="+mn-cs"/>
          </a:endParaRPr>
        </a:p>
      </dgm:t>
    </dgm:pt>
    <dgm:pt modelId="{FD01D34D-5E0D-46CB-A169-082DA7DAD974}" type="parTrans" cxnId="{5E05D01C-86C1-4D78-9891-28D3BB9C2A58}">
      <dgm:prSet/>
      <dgm:spPr>
        <a:xfrm>
          <a:off x="3019640" y="1508181"/>
          <a:ext cx="202723" cy="788523"/>
        </a:xfrm>
        <a:custGeom>
          <a:avLst/>
          <a:gdLst/>
          <a:ahLst/>
          <a:cxnLst/>
          <a:rect l="0" t="0" r="0" b="0"/>
          <a:pathLst>
            <a:path>
              <a:moveTo>
                <a:pt x="202723" y="0"/>
              </a:moveTo>
              <a:lnTo>
                <a:pt x="0" y="788523"/>
              </a:lnTo>
            </a:path>
          </a:pathLst>
        </a:custGeom>
        <a:noFill/>
        <a:ln w="12700" cap="flat" cmpd="sng" algn="ctr">
          <a:noFill/>
          <a:prstDash val="solid"/>
          <a:miter lim="800000"/>
        </a:ln>
        <a:effectLst/>
      </dgm:spPr>
      <dgm:t>
        <a:bodyPr/>
        <a:lstStyle/>
        <a:p>
          <a:endParaRPr lang="en-GB"/>
        </a:p>
      </dgm:t>
    </dgm:pt>
    <dgm:pt modelId="{DD9AF56D-050C-4FCF-866D-9181CC568B13}" type="sibTrans" cxnId="{5E05D01C-86C1-4D78-9891-28D3BB9C2A58}">
      <dgm:prSet/>
      <dgm:spPr/>
      <dgm:t>
        <a:bodyPr/>
        <a:lstStyle/>
        <a:p>
          <a:endParaRPr lang="en-GB"/>
        </a:p>
      </dgm:t>
    </dgm:pt>
    <dgm:pt modelId="{7520F216-6A93-4900-B03B-1CAE7FDB300B}">
      <dgm:prSet phldrT="[Text]" custT="1"/>
      <dgm:spPr>
        <a:xfrm>
          <a:off x="3019640" y="2590012"/>
          <a:ext cx="2690278" cy="53337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050" b="0" dirty="0" smtClean="0">
              <a:solidFill>
                <a:sysClr val="windowText" lastClr="000000"/>
              </a:solidFill>
              <a:latin typeface="Lato"/>
              <a:ea typeface="+mn-ea"/>
              <a:cs typeface="+mn-cs"/>
            </a:rPr>
            <a:t>Approval and implementation of functional, centre-centric organisational structure</a:t>
          </a:r>
          <a:endParaRPr lang="en-GB" sz="1050" b="0" dirty="0">
            <a:solidFill>
              <a:sysClr val="windowText" lastClr="000000"/>
            </a:solidFill>
            <a:latin typeface="Lato"/>
            <a:ea typeface="+mn-ea"/>
            <a:cs typeface="+mn-cs"/>
          </a:endParaRPr>
        </a:p>
      </dgm:t>
    </dgm:pt>
    <dgm:pt modelId="{4D12AA29-479B-49C6-9FF2-D77C0C9C8CC6}" type="parTrans" cxnId="{889E07D5-B3DA-49CD-A216-C666F0E36142}">
      <dgm:prSet/>
      <dgm:spPr>
        <a:xfrm>
          <a:off x="3019640" y="1508181"/>
          <a:ext cx="202723" cy="1348516"/>
        </a:xfrm>
        <a:custGeom>
          <a:avLst/>
          <a:gdLst/>
          <a:ahLst/>
          <a:cxnLst/>
          <a:rect l="0" t="0" r="0" b="0"/>
          <a:pathLst>
            <a:path>
              <a:moveTo>
                <a:pt x="202723" y="0"/>
              </a:moveTo>
              <a:lnTo>
                <a:pt x="0" y="1348516"/>
              </a:lnTo>
            </a:path>
          </a:pathLst>
        </a:custGeom>
        <a:noFill/>
        <a:ln w="12700" cap="flat" cmpd="sng" algn="ctr">
          <a:noFill/>
          <a:prstDash val="solid"/>
          <a:miter lim="800000"/>
        </a:ln>
        <a:effectLst/>
      </dgm:spPr>
      <dgm:t>
        <a:bodyPr/>
        <a:lstStyle/>
        <a:p>
          <a:endParaRPr lang="en-GB"/>
        </a:p>
      </dgm:t>
    </dgm:pt>
    <dgm:pt modelId="{BA27681F-B8E8-4861-83D6-629C56782002}" type="sibTrans" cxnId="{889E07D5-B3DA-49CD-A216-C666F0E36142}">
      <dgm:prSet/>
      <dgm:spPr/>
      <dgm:t>
        <a:bodyPr/>
        <a:lstStyle/>
        <a:p>
          <a:endParaRPr lang="en-GB"/>
        </a:p>
      </dgm:t>
    </dgm:pt>
    <dgm:pt modelId="{D6F17EA9-E082-43E6-9D65-85C43DB9E61E}">
      <dgm:prSet phldrT="[Text]" custT="1"/>
      <dgm:spPr>
        <a:xfrm>
          <a:off x="3019640" y="3222359"/>
          <a:ext cx="2690278" cy="72386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pPr>
            <a:lnSpc>
              <a:spcPct val="100000"/>
            </a:lnSpc>
            <a:spcAft>
              <a:spcPts val="0"/>
            </a:spcAft>
          </a:pPr>
          <a:r>
            <a:rPr lang="en-ZA" sz="850" dirty="0" smtClean="0">
              <a:solidFill>
                <a:sysClr val="windowText" lastClr="000000"/>
              </a:solidFill>
              <a:latin typeface="Lato"/>
              <a:ea typeface="+mn-ea"/>
              <a:cs typeface="+mn-cs"/>
            </a:rPr>
            <a:t>Partnership with other departments, HEIs, SETAs, Disability Sector, NSG, professional bodies - MoUs; allowances for professionals, extension of Community service programme to include other professions;</a:t>
          </a:r>
          <a:endParaRPr lang="en-GB" sz="850" dirty="0">
            <a:solidFill>
              <a:sysClr val="windowText" lastClr="000000"/>
            </a:solidFill>
            <a:latin typeface="Lato"/>
            <a:ea typeface="+mn-ea"/>
            <a:cs typeface="+mn-cs"/>
          </a:endParaRPr>
        </a:p>
      </dgm:t>
    </dgm:pt>
    <dgm:pt modelId="{9E6D193C-AE2E-4C60-B40E-8A836963A6ED}" type="parTrans" cxnId="{D620C2D2-A93A-4291-AB41-C4C4272825DC}">
      <dgm:prSet/>
      <dgm:spPr>
        <a:xfrm>
          <a:off x="3019640" y="1508181"/>
          <a:ext cx="202723" cy="2076109"/>
        </a:xfrm>
        <a:custGeom>
          <a:avLst/>
          <a:gdLst/>
          <a:ahLst/>
          <a:cxnLst/>
          <a:rect l="0" t="0" r="0" b="0"/>
          <a:pathLst>
            <a:path>
              <a:moveTo>
                <a:pt x="202723" y="0"/>
              </a:moveTo>
              <a:lnTo>
                <a:pt x="0" y="2076109"/>
              </a:lnTo>
            </a:path>
          </a:pathLst>
        </a:custGeom>
        <a:noFill/>
        <a:ln w="12700" cap="flat" cmpd="sng" algn="ctr">
          <a:noFill/>
          <a:prstDash val="solid"/>
          <a:miter lim="800000"/>
        </a:ln>
        <a:effectLst/>
      </dgm:spPr>
      <dgm:t>
        <a:bodyPr/>
        <a:lstStyle/>
        <a:p>
          <a:endParaRPr lang="en-GB"/>
        </a:p>
      </dgm:t>
    </dgm:pt>
    <dgm:pt modelId="{C6072D5B-B209-4632-BF6C-A85AFBA9582B}" type="sibTrans" cxnId="{D620C2D2-A93A-4291-AB41-C4C4272825DC}">
      <dgm:prSet/>
      <dgm:spPr/>
      <dgm:t>
        <a:bodyPr/>
        <a:lstStyle/>
        <a:p>
          <a:endParaRPr lang="en-GB"/>
        </a:p>
      </dgm:t>
    </dgm:pt>
    <dgm:pt modelId="{A67701C2-2154-49A9-AEE7-642B0F6E0EDA}">
      <dgm:prSet phldrT="[Text]" custT="1"/>
      <dgm:spPr>
        <a:xfrm>
          <a:off x="3019640" y="4029069"/>
          <a:ext cx="2690278" cy="45317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b="0" dirty="0" smtClean="0">
              <a:solidFill>
                <a:sysClr val="windowText" lastClr="000000"/>
              </a:solidFill>
              <a:latin typeface="Lato"/>
              <a:ea typeface="+mn-ea"/>
              <a:cs typeface="+mn-cs"/>
            </a:rPr>
            <a:t>Develop and Implement Talent Management Strategy</a:t>
          </a:r>
          <a:endParaRPr lang="en-GB" sz="1050" b="0" dirty="0">
            <a:solidFill>
              <a:sysClr val="windowText" lastClr="000000"/>
            </a:solidFill>
            <a:latin typeface="Lato"/>
            <a:ea typeface="+mn-ea"/>
            <a:cs typeface="+mn-cs"/>
          </a:endParaRPr>
        </a:p>
      </dgm:t>
    </dgm:pt>
    <dgm:pt modelId="{68FB7B31-DBFA-4E20-A5A9-242EBD808708}" type="parTrans" cxnId="{323A174D-A943-481C-AA12-3A02F0E37880}">
      <dgm:prSet/>
      <dgm:spPr>
        <a:xfrm>
          <a:off x="3019640" y="1508181"/>
          <a:ext cx="202723" cy="2747474"/>
        </a:xfrm>
        <a:custGeom>
          <a:avLst/>
          <a:gdLst/>
          <a:ahLst/>
          <a:cxnLst/>
          <a:rect l="0" t="0" r="0" b="0"/>
          <a:pathLst>
            <a:path>
              <a:moveTo>
                <a:pt x="202723" y="0"/>
              </a:moveTo>
              <a:lnTo>
                <a:pt x="0" y="2747474"/>
              </a:lnTo>
            </a:path>
          </a:pathLst>
        </a:custGeom>
        <a:noFill/>
        <a:ln w="12700" cap="flat" cmpd="sng" algn="ctr">
          <a:noFill/>
          <a:prstDash val="solid"/>
          <a:miter lim="800000"/>
        </a:ln>
        <a:effectLst/>
      </dgm:spPr>
      <dgm:t>
        <a:bodyPr/>
        <a:lstStyle/>
        <a:p>
          <a:endParaRPr lang="en-GB"/>
        </a:p>
      </dgm:t>
    </dgm:pt>
    <dgm:pt modelId="{DE5C4C84-FC53-429E-B431-54377B1406F5}" type="sibTrans" cxnId="{323A174D-A943-481C-AA12-3A02F0E37880}">
      <dgm:prSet/>
      <dgm:spPr/>
      <dgm:t>
        <a:bodyPr/>
        <a:lstStyle/>
        <a:p>
          <a:endParaRPr lang="en-GB"/>
        </a:p>
      </dgm:t>
    </dgm:pt>
    <dgm:pt modelId="{AD9B6B29-76D5-426B-93B6-5BFE62AB229B}">
      <dgm:prSet phldrT="[Text]" custT="1"/>
      <dgm:spPr>
        <a:xfrm>
          <a:off x="3019640" y="4549306"/>
          <a:ext cx="2690278" cy="45317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Capacitate the Management Areas and correctional centres</a:t>
          </a:r>
          <a:endParaRPr lang="en-GB" sz="1000" dirty="0">
            <a:solidFill>
              <a:sysClr val="windowText" lastClr="000000"/>
            </a:solidFill>
            <a:latin typeface="Lato"/>
            <a:ea typeface="+mn-ea"/>
            <a:cs typeface="+mn-cs"/>
          </a:endParaRPr>
        </a:p>
      </dgm:t>
    </dgm:pt>
    <dgm:pt modelId="{84939823-9C1A-4A52-8238-B36504B8A531}" type="parTrans" cxnId="{F3C32E4C-5A51-4406-BA74-1A2339D8031A}">
      <dgm:prSet/>
      <dgm:spPr>
        <a:xfrm>
          <a:off x="3019640" y="1508181"/>
          <a:ext cx="202723" cy="3267712"/>
        </a:xfrm>
        <a:custGeom>
          <a:avLst/>
          <a:gdLst/>
          <a:ahLst/>
          <a:cxnLst/>
          <a:rect l="0" t="0" r="0" b="0"/>
          <a:pathLst>
            <a:path>
              <a:moveTo>
                <a:pt x="202723" y="0"/>
              </a:moveTo>
              <a:lnTo>
                <a:pt x="0" y="3267712"/>
              </a:lnTo>
            </a:path>
          </a:pathLst>
        </a:custGeom>
        <a:noFill/>
        <a:ln w="12700" cap="flat" cmpd="sng" algn="ctr">
          <a:noFill/>
          <a:prstDash val="solid"/>
          <a:miter lim="800000"/>
        </a:ln>
        <a:effectLst/>
      </dgm:spPr>
      <dgm:t>
        <a:bodyPr/>
        <a:lstStyle/>
        <a:p>
          <a:endParaRPr lang="en-GB"/>
        </a:p>
      </dgm:t>
    </dgm:pt>
    <dgm:pt modelId="{15659702-21A2-4FE5-A2E5-6D94C072E3B4}" type="sibTrans" cxnId="{F3C32E4C-5A51-4406-BA74-1A2339D8031A}">
      <dgm:prSet/>
      <dgm:spPr/>
      <dgm:t>
        <a:bodyPr/>
        <a:lstStyle/>
        <a:p>
          <a:endParaRPr lang="en-GB"/>
        </a:p>
      </dgm:t>
    </dgm:pt>
    <dgm:pt modelId="{6FFB1031-0A73-4469-BCC7-5B3640D26945}">
      <dgm:prSet phldrT="[Text]" custT="1"/>
      <dgm:spPr>
        <a:xfrm>
          <a:off x="3016707" y="5074260"/>
          <a:ext cx="2690278" cy="45317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Consistently avail adequate budget for the colleges </a:t>
          </a:r>
          <a:endParaRPr lang="en-GB" sz="1050" dirty="0" smtClean="0">
            <a:solidFill>
              <a:sysClr val="windowText" lastClr="000000"/>
            </a:solidFill>
            <a:latin typeface="Lato"/>
            <a:ea typeface="+mn-ea"/>
            <a:cs typeface="+mn-cs"/>
          </a:endParaRPr>
        </a:p>
      </dgm:t>
    </dgm:pt>
    <dgm:pt modelId="{53973304-1394-4263-9745-1D093A3A9643}" type="parTrans" cxnId="{87F18738-F3EE-4F20-8A2F-988E2707B71F}">
      <dgm:prSet/>
      <dgm:spPr>
        <a:xfrm>
          <a:off x="3016707" y="1508181"/>
          <a:ext cx="205655" cy="3792666"/>
        </a:xfrm>
        <a:custGeom>
          <a:avLst/>
          <a:gdLst/>
          <a:ahLst/>
          <a:cxnLst/>
          <a:rect l="0" t="0" r="0" b="0"/>
          <a:pathLst>
            <a:path>
              <a:moveTo>
                <a:pt x="205655" y="0"/>
              </a:moveTo>
              <a:lnTo>
                <a:pt x="0" y="3792666"/>
              </a:lnTo>
            </a:path>
          </a:pathLst>
        </a:custGeom>
        <a:noFill/>
        <a:ln w="12700" cap="flat" cmpd="sng" algn="ctr">
          <a:noFill/>
          <a:prstDash val="solid"/>
          <a:miter lim="800000"/>
        </a:ln>
        <a:effectLst/>
      </dgm:spPr>
      <dgm:t>
        <a:bodyPr/>
        <a:lstStyle/>
        <a:p>
          <a:endParaRPr lang="en-GB"/>
        </a:p>
      </dgm:t>
    </dgm:pt>
    <dgm:pt modelId="{2B6001BC-975C-47B4-A3DF-5D8858B4F017}" type="sibTrans" cxnId="{87F18738-F3EE-4F20-8A2F-988E2707B71F}">
      <dgm:prSet/>
      <dgm:spPr/>
      <dgm:t>
        <a:bodyPr/>
        <a:lstStyle/>
        <a:p>
          <a:endParaRPr lang="en-GB"/>
        </a:p>
      </dgm:t>
    </dgm:pt>
    <dgm:pt modelId="{17012AFC-D3C1-4556-BCA0-69E7EF7D426B}">
      <dgm:prSet phldrT="[Text]" custT="1"/>
      <dgm:spPr>
        <a:xfrm>
          <a:off x="8800672" y="968812"/>
          <a:ext cx="2749662" cy="547946"/>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600" dirty="0" smtClean="0">
              <a:solidFill>
                <a:sysClr val="windowText" lastClr="000000"/>
              </a:solidFill>
              <a:latin typeface="Lato"/>
              <a:ea typeface="+mn-ea"/>
              <a:cs typeface="+mn-cs"/>
            </a:rPr>
            <a:t>Intervention:</a:t>
          </a:r>
        </a:p>
        <a:p>
          <a:pPr>
            <a:spcAft>
              <a:spcPts val="0"/>
            </a:spcAft>
          </a:pPr>
          <a:r>
            <a:rPr lang="en-ZA" sz="1600" dirty="0" smtClean="0">
              <a:solidFill>
                <a:sysClr val="windowText" lastClr="000000"/>
              </a:solidFill>
              <a:latin typeface="Lato"/>
              <a:ea typeface="+mn-ea"/>
              <a:cs typeface="+mn-cs"/>
            </a:rPr>
            <a:t>Improve compliance</a:t>
          </a:r>
          <a:endParaRPr lang="en-GB" sz="1600" dirty="0">
            <a:solidFill>
              <a:sysClr val="windowText" lastClr="000000"/>
            </a:solidFill>
            <a:latin typeface="Lato"/>
            <a:ea typeface="+mn-ea"/>
            <a:cs typeface="+mn-cs"/>
          </a:endParaRPr>
        </a:p>
      </dgm:t>
    </dgm:pt>
    <dgm:pt modelId="{2891E821-653F-4013-91DF-F4C272A737E3}" type="sibTrans" cxnId="{66D1CB44-4610-42F1-91AA-35A3C15028CB}">
      <dgm:prSet/>
      <dgm:spPr/>
      <dgm:t>
        <a:bodyPr/>
        <a:lstStyle/>
        <a:p>
          <a:endParaRPr lang="en-GB"/>
        </a:p>
      </dgm:t>
    </dgm:pt>
    <dgm:pt modelId="{D3AB7F58-C8BD-4F52-BA48-1335ECA51BF3}" type="parTrans" cxnId="{66D1CB44-4610-42F1-91AA-35A3C15028CB}">
      <dgm:prSet/>
      <dgm:spPr>
        <a:xfrm>
          <a:off x="5791576" y="837857"/>
          <a:ext cx="4383927" cy="130955"/>
        </a:xfrm>
        <a:custGeom>
          <a:avLst/>
          <a:gdLst/>
          <a:ahLst/>
          <a:cxnLst/>
          <a:rect l="0" t="0" r="0" b="0"/>
          <a:pathLst>
            <a:path>
              <a:moveTo>
                <a:pt x="0" y="0"/>
              </a:moveTo>
              <a:lnTo>
                <a:pt x="0" y="59506"/>
              </a:lnTo>
              <a:lnTo>
                <a:pt x="4383927" y="59506"/>
              </a:lnTo>
              <a:lnTo>
                <a:pt x="4383927" y="130955"/>
              </a:lnTo>
            </a:path>
          </a:pathLst>
        </a:custGeom>
        <a:noFill/>
        <a:ln w="12700" cap="flat" cmpd="sng" algn="ctr">
          <a:noFill/>
          <a:prstDash val="solid"/>
          <a:miter lim="800000"/>
        </a:ln>
        <a:effectLst/>
      </dgm:spPr>
      <dgm:t>
        <a:bodyPr/>
        <a:lstStyle/>
        <a:p>
          <a:endParaRPr lang="en-GB"/>
        </a:p>
      </dgm:t>
    </dgm:pt>
    <dgm:pt modelId="{4F00BF85-AC72-481D-BE7B-D4C9F900999E}">
      <dgm:prSet phldrT="[Text]" custT="1"/>
      <dgm:spPr>
        <a:xfrm>
          <a:off x="8909823" y="1561087"/>
          <a:ext cx="2537984" cy="753813"/>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Review and automate compliance functions</a:t>
          </a:r>
          <a:endParaRPr lang="en-GB" sz="1600" dirty="0">
            <a:solidFill>
              <a:sysClr val="windowText" lastClr="000000"/>
            </a:solidFill>
            <a:latin typeface="Lato"/>
            <a:ea typeface="+mn-ea"/>
            <a:cs typeface="+mn-cs"/>
          </a:endParaRPr>
        </a:p>
      </dgm:t>
    </dgm:pt>
    <dgm:pt modelId="{5E41AA33-18C8-4417-B53F-484A14595051}" type="parTrans" cxnId="{694ED9D8-997C-40CB-B2B9-9CA76F6EEBD1}">
      <dgm:prSet/>
      <dgm:spPr>
        <a:xfrm>
          <a:off x="8909823" y="1516758"/>
          <a:ext cx="165814" cy="421235"/>
        </a:xfrm>
        <a:custGeom>
          <a:avLst/>
          <a:gdLst/>
          <a:ahLst/>
          <a:cxnLst/>
          <a:rect l="0" t="0" r="0" b="0"/>
          <a:pathLst>
            <a:path>
              <a:moveTo>
                <a:pt x="165814" y="0"/>
              </a:moveTo>
              <a:lnTo>
                <a:pt x="0" y="421235"/>
              </a:lnTo>
            </a:path>
          </a:pathLst>
        </a:custGeom>
        <a:noFill/>
        <a:ln w="12700" cap="flat" cmpd="sng" algn="ctr">
          <a:noFill/>
          <a:prstDash val="solid"/>
          <a:miter lim="800000"/>
        </a:ln>
        <a:effectLst/>
      </dgm:spPr>
      <dgm:t>
        <a:bodyPr/>
        <a:lstStyle/>
        <a:p>
          <a:endParaRPr lang="en-GB"/>
        </a:p>
      </dgm:t>
    </dgm:pt>
    <dgm:pt modelId="{282FF86C-1827-4838-A6BF-3FFDB505CF60}" type="sibTrans" cxnId="{694ED9D8-997C-40CB-B2B9-9CA76F6EEBD1}">
      <dgm:prSet/>
      <dgm:spPr/>
      <dgm:t>
        <a:bodyPr/>
        <a:lstStyle/>
        <a:p>
          <a:endParaRPr lang="en-GB"/>
        </a:p>
      </dgm:t>
    </dgm:pt>
    <dgm:pt modelId="{8B3B7F3F-9569-4813-B483-35B81A80F496}">
      <dgm:prSet phldrT="[Text]" custT="1"/>
      <dgm:spPr>
        <a:xfrm>
          <a:off x="8911524" y="2401935"/>
          <a:ext cx="2537984" cy="753813"/>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Review the current supply chain management operating model and awarding of contracts</a:t>
          </a:r>
          <a:endParaRPr lang="en-GB" sz="1200" dirty="0">
            <a:solidFill>
              <a:sysClr val="windowText" lastClr="000000"/>
            </a:solidFill>
            <a:latin typeface="Lato"/>
            <a:ea typeface="+mn-ea"/>
            <a:cs typeface="+mn-cs"/>
          </a:endParaRPr>
        </a:p>
      </dgm:t>
    </dgm:pt>
    <dgm:pt modelId="{2E1B0A68-5385-427D-BCDA-B3B9911E240A}" type="parTrans" cxnId="{25D2806F-B49E-47EC-9BA5-D6D37CB1926D}">
      <dgm:prSet/>
      <dgm:spPr>
        <a:xfrm>
          <a:off x="8911524" y="1516758"/>
          <a:ext cx="164113" cy="1262083"/>
        </a:xfrm>
        <a:custGeom>
          <a:avLst/>
          <a:gdLst/>
          <a:ahLst/>
          <a:cxnLst/>
          <a:rect l="0" t="0" r="0" b="0"/>
          <a:pathLst>
            <a:path>
              <a:moveTo>
                <a:pt x="164113" y="0"/>
              </a:moveTo>
              <a:lnTo>
                <a:pt x="0" y="1262083"/>
              </a:lnTo>
            </a:path>
          </a:pathLst>
        </a:custGeom>
        <a:noFill/>
        <a:ln w="12700" cap="flat" cmpd="sng" algn="ctr">
          <a:noFill/>
          <a:prstDash val="solid"/>
          <a:miter lim="800000"/>
        </a:ln>
        <a:effectLst/>
      </dgm:spPr>
      <dgm:t>
        <a:bodyPr/>
        <a:lstStyle/>
        <a:p>
          <a:endParaRPr lang="en-GB"/>
        </a:p>
      </dgm:t>
    </dgm:pt>
    <dgm:pt modelId="{E0589A92-A73B-4545-A5CA-F7B6316B1541}" type="sibTrans" cxnId="{25D2806F-B49E-47EC-9BA5-D6D37CB1926D}">
      <dgm:prSet/>
      <dgm:spPr/>
      <dgm:t>
        <a:bodyPr/>
        <a:lstStyle/>
        <a:p>
          <a:endParaRPr lang="en-GB"/>
        </a:p>
      </dgm:t>
    </dgm:pt>
    <dgm:pt modelId="{7040D635-CE3C-4D39-B00B-23C0DAD01902}">
      <dgm:prSet phldrT="[Text]" custT="1"/>
      <dgm:spPr>
        <a:xfrm>
          <a:off x="8913674" y="3258740"/>
          <a:ext cx="2537984" cy="98655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150" dirty="0" smtClean="0">
              <a:solidFill>
                <a:sysClr val="windowText" lastClr="000000"/>
              </a:solidFill>
              <a:latin typeface="Lato"/>
              <a:ea typeface="+mn-ea"/>
              <a:cs typeface="+mn-cs"/>
            </a:rPr>
            <a:t>Review the line of sight between HO, Regions and Management Areas by clearly defining roles and responsibilities</a:t>
          </a:r>
          <a:endParaRPr lang="en-GB" sz="1150" dirty="0">
            <a:solidFill>
              <a:sysClr val="windowText" lastClr="000000"/>
            </a:solidFill>
            <a:latin typeface="Lato"/>
            <a:ea typeface="+mn-ea"/>
            <a:cs typeface="+mn-cs"/>
          </a:endParaRPr>
        </a:p>
      </dgm:t>
    </dgm:pt>
    <dgm:pt modelId="{36E96AA5-58BD-4463-8AC7-C7605675329D}" type="parTrans" cxnId="{50B9BF52-DC7F-4486-A63D-688D43797D59}">
      <dgm:prSet/>
      <dgm:spPr>
        <a:xfrm>
          <a:off x="8913674" y="1516758"/>
          <a:ext cx="161963" cy="2235261"/>
        </a:xfrm>
        <a:custGeom>
          <a:avLst/>
          <a:gdLst/>
          <a:ahLst/>
          <a:cxnLst/>
          <a:rect l="0" t="0" r="0" b="0"/>
          <a:pathLst>
            <a:path>
              <a:moveTo>
                <a:pt x="161963" y="0"/>
              </a:moveTo>
              <a:lnTo>
                <a:pt x="0" y="2235261"/>
              </a:lnTo>
            </a:path>
          </a:pathLst>
        </a:custGeom>
        <a:noFill/>
        <a:ln w="12700" cap="flat" cmpd="sng" algn="ctr">
          <a:noFill/>
          <a:prstDash val="solid"/>
          <a:miter lim="800000"/>
        </a:ln>
        <a:effectLst/>
      </dgm:spPr>
      <dgm:t>
        <a:bodyPr/>
        <a:lstStyle/>
        <a:p>
          <a:endParaRPr lang="en-GB"/>
        </a:p>
      </dgm:t>
    </dgm:pt>
    <dgm:pt modelId="{4DB320F3-DA54-426D-95BE-7952EFF35D61}" type="sibTrans" cxnId="{50B9BF52-DC7F-4486-A63D-688D43797D59}">
      <dgm:prSet/>
      <dgm:spPr/>
      <dgm:t>
        <a:bodyPr/>
        <a:lstStyle/>
        <a:p>
          <a:endParaRPr lang="en-GB"/>
        </a:p>
      </dgm:t>
    </dgm:pt>
    <dgm:pt modelId="{E9A975ED-C728-4E64-B90E-4B505F6C90B9}">
      <dgm:prSet phldrT="[Text]" custT="1"/>
      <dgm:spPr>
        <a:xfrm>
          <a:off x="8919356" y="4331524"/>
          <a:ext cx="2537984" cy="753813"/>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Reorganize Assurance Services to maximize assurance value, optimize operational efficiency</a:t>
          </a:r>
          <a:endParaRPr lang="en-GB" sz="1200" dirty="0">
            <a:solidFill>
              <a:sysClr val="windowText" lastClr="000000"/>
            </a:solidFill>
            <a:latin typeface="Lato"/>
            <a:ea typeface="+mn-ea"/>
            <a:cs typeface="+mn-cs"/>
          </a:endParaRPr>
        </a:p>
      </dgm:t>
    </dgm:pt>
    <dgm:pt modelId="{97E78FE5-005F-480B-ADDD-02C500177BBA}" type="parTrans" cxnId="{2CA59D98-A57E-40DB-862D-332DD9FE11FB}">
      <dgm:prSet/>
      <dgm:spPr>
        <a:xfrm>
          <a:off x="8919356" y="1516758"/>
          <a:ext cx="156281" cy="3191672"/>
        </a:xfrm>
        <a:custGeom>
          <a:avLst/>
          <a:gdLst/>
          <a:ahLst/>
          <a:cxnLst/>
          <a:rect l="0" t="0" r="0" b="0"/>
          <a:pathLst>
            <a:path>
              <a:moveTo>
                <a:pt x="156281" y="0"/>
              </a:moveTo>
              <a:lnTo>
                <a:pt x="0" y="3191672"/>
              </a:lnTo>
            </a:path>
          </a:pathLst>
        </a:custGeom>
        <a:noFill/>
        <a:ln w="12700" cap="flat" cmpd="sng" algn="ctr">
          <a:noFill/>
          <a:prstDash val="solid"/>
          <a:miter lim="800000"/>
        </a:ln>
        <a:effectLst/>
      </dgm:spPr>
      <dgm:t>
        <a:bodyPr/>
        <a:lstStyle/>
        <a:p>
          <a:endParaRPr lang="en-GB"/>
        </a:p>
      </dgm:t>
    </dgm:pt>
    <dgm:pt modelId="{BD353001-6067-4889-B0B0-5C7A4C228A3C}" type="sibTrans" cxnId="{2CA59D98-A57E-40DB-862D-332DD9FE11FB}">
      <dgm:prSet/>
      <dgm:spPr/>
      <dgm:t>
        <a:bodyPr/>
        <a:lstStyle/>
        <a:p>
          <a:endParaRPr lang="en-GB"/>
        </a:p>
      </dgm:t>
    </dgm:pt>
    <dgm:pt modelId="{4A2B5A49-02C5-4CAF-B182-FD73BC39F0B6}">
      <dgm:prSet phldrT="[Text]" custT="1"/>
      <dgm:spPr>
        <a:xfrm>
          <a:off x="5895680" y="968812"/>
          <a:ext cx="2749662" cy="547946"/>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100" dirty="0" smtClean="0">
              <a:solidFill>
                <a:sysClr val="windowText" lastClr="000000"/>
              </a:solidFill>
              <a:latin typeface="Lato"/>
              <a:ea typeface="+mn-ea"/>
              <a:cs typeface="+mn-cs"/>
            </a:rPr>
            <a:t>Intervention:</a:t>
          </a:r>
        </a:p>
        <a:p>
          <a:pPr>
            <a:spcAft>
              <a:spcPts val="0"/>
            </a:spcAft>
          </a:pPr>
          <a:r>
            <a:rPr lang="en-ZA" sz="1100" dirty="0" smtClean="0">
              <a:solidFill>
                <a:sysClr val="windowText" lastClr="000000"/>
              </a:solidFill>
              <a:latin typeface="Lato"/>
              <a:ea typeface="+mn-ea"/>
              <a:cs typeface="+mn-cs"/>
            </a:rPr>
            <a:t>Stringent budget management and enhancing self sufficiency</a:t>
          </a:r>
          <a:endParaRPr lang="en-GB" sz="1100" dirty="0">
            <a:solidFill>
              <a:sysClr val="windowText" lastClr="000000"/>
            </a:solidFill>
            <a:latin typeface="Lato"/>
            <a:ea typeface="+mn-ea"/>
            <a:cs typeface="+mn-cs"/>
          </a:endParaRPr>
        </a:p>
      </dgm:t>
    </dgm:pt>
    <dgm:pt modelId="{6FB800BF-C0D2-4431-90AD-DB6C6F916073}" type="parTrans" cxnId="{C7DD373B-A265-4E7E-A96E-3F1BC5B5FC3F}">
      <dgm:prSet/>
      <dgm:spPr>
        <a:xfrm>
          <a:off x="5791576" y="837857"/>
          <a:ext cx="1478935" cy="130955"/>
        </a:xfrm>
        <a:custGeom>
          <a:avLst/>
          <a:gdLst/>
          <a:ahLst/>
          <a:cxnLst/>
          <a:rect l="0" t="0" r="0" b="0"/>
          <a:pathLst>
            <a:path>
              <a:moveTo>
                <a:pt x="0" y="0"/>
              </a:moveTo>
              <a:lnTo>
                <a:pt x="0" y="59506"/>
              </a:lnTo>
              <a:lnTo>
                <a:pt x="1478935" y="59506"/>
              </a:lnTo>
              <a:lnTo>
                <a:pt x="1478935" y="130955"/>
              </a:lnTo>
            </a:path>
          </a:pathLst>
        </a:custGeom>
        <a:noFill/>
        <a:ln w="12700" cap="flat" cmpd="sng" algn="ctr">
          <a:noFill/>
          <a:prstDash val="solid"/>
          <a:miter lim="800000"/>
        </a:ln>
        <a:effectLst/>
      </dgm:spPr>
      <dgm:t>
        <a:bodyPr/>
        <a:lstStyle/>
        <a:p>
          <a:endParaRPr lang="en-GB"/>
        </a:p>
      </dgm:t>
    </dgm:pt>
    <dgm:pt modelId="{F330B70A-5047-4F52-80F0-426794C12634}" type="sibTrans" cxnId="{C7DD373B-A265-4E7E-A96E-3F1BC5B5FC3F}">
      <dgm:prSet/>
      <dgm:spPr/>
      <dgm:t>
        <a:bodyPr/>
        <a:lstStyle/>
        <a:p>
          <a:endParaRPr lang="en-GB"/>
        </a:p>
      </dgm:t>
    </dgm:pt>
    <dgm:pt modelId="{2D341EAF-8E02-4FFB-8BC7-8E749BCA3386}">
      <dgm:prSet phldrT="[Text]" custT="1"/>
      <dgm:spPr>
        <a:xfrm>
          <a:off x="5928374" y="1633808"/>
          <a:ext cx="2653928" cy="56535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Timely budget reprioritisation and budget controls.</a:t>
          </a:r>
          <a:endParaRPr lang="en-GB" sz="1200" dirty="0" smtClean="0">
            <a:solidFill>
              <a:sysClr val="windowText" lastClr="000000"/>
            </a:solidFill>
            <a:latin typeface="Lato"/>
            <a:ea typeface="+mn-ea"/>
            <a:cs typeface="+mn-cs"/>
          </a:endParaRPr>
        </a:p>
      </dgm:t>
    </dgm:pt>
    <dgm:pt modelId="{0501E4C1-E7FE-472A-A140-201BB0837341}" type="parTrans" cxnId="{FFE56686-CF77-4990-8FC8-B17B0A6C1C82}">
      <dgm:prSet/>
      <dgm:spPr>
        <a:xfrm>
          <a:off x="5928374" y="1516758"/>
          <a:ext cx="242271" cy="399729"/>
        </a:xfrm>
        <a:custGeom>
          <a:avLst/>
          <a:gdLst/>
          <a:ahLst/>
          <a:cxnLst/>
          <a:rect l="0" t="0" r="0" b="0"/>
          <a:pathLst>
            <a:path>
              <a:moveTo>
                <a:pt x="242271" y="0"/>
              </a:moveTo>
              <a:lnTo>
                <a:pt x="0" y="399729"/>
              </a:lnTo>
            </a:path>
          </a:pathLst>
        </a:custGeom>
        <a:noFill/>
        <a:ln w="12700" cap="flat" cmpd="sng" algn="ctr">
          <a:noFill/>
          <a:prstDash val="solid"/>
          <a:miter lim="800000"/>
        </a:ln>
        <a:effectLst/>
      </dgm:spPr>
      <dgm:t>
        <a:bodyPr/>
        <a:lstStyle/>
        <a:p>
          <a:endParaRPr lang="en-GB"/>
        </a:p>
      </dgm:t>
    </dgm:pt>
    <dgm:pt modelId="{A8B58A40-33F2-49FA-A4B6-8B1E6A3D8248}" type="sibTrans" cxnId="{FFE56686-CF77-4990-8FC8-B17B0A6C1C82}">
      <dgm:prSet/>
      <dgm:spPr/>
      <dgm:t>
        <a:bodyPr/>
        <a:lstStyle/>
        <a:p>
          <a:endParaRPr lang="en-GB"/>
        </a:p>
      </dgm:t>
    </dgm:pt>
    <dgm:pt modelId="{AEF99AFC-BCE6-483A-9DBF-D4311D315409}">
      <dgm:prSet custT="1"/>
      <dgm:spPr>
        <a:xfrm>
          <a:off x="5912417" y="2387703"/>
          <a:ext cx="2653928" cy="753813"/>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Continuous cost saving initiatives by way of  bid negotiations and strategic procurement initiatives</a:t>
          </a:r>
          <a:endParaRPr lang="en-GB" sz="1200" dirty="0">
            <a:solidFill>
              <a:sysClr val="windowText" lastClr="000000"/>
            </a:solidFill>
            <a:latin typeface="Lato"/>
            <a:ea typeface="+mn-ea"/>
            <a:cs typeface="+mn-cs"/>
          </a:endParaRPr>
        </a:p>
      </dgm:t>
    </dgm:pt>
    <dgm:pt modelId="{944BA3E3-A7DB-42E6-BE3A-27FE8324A05A}" type="sibTrans" cxnId="{9820CA1E-1691-47FA-A880-ED1D5CB29D1B}">
      <dgm:prSet/>
      <dgm:spPr/>
      <dgm:t>
        <a:bodyPr/>
        <a:lstStyle/>
        <a:p>
          <a:endParaRPr lang="en-GB"/>
        </a:p>
      </dgm:t>
    </dgm:pt>
    <dgm:pt modelId="{23C38686-FC84-49F1-B747-F325F35C7D06}" type="parTrans" cxnId="{9820CA1E-1691-47FA-A880-ED1D5CB29D1B}">
      <dgm:prSet/>
      <dgm:spPr>
        <a:xfrm>
          <a:off x="5912417" y="1516758"/>
          <a:ext cx="258228" cy="1247851"/>
        </a:xfrm>
        <a:custGeom>
          <a:avLst/>
          <a:gdLst/>
          <a:ahLst/>
          <a:cxnLst/>
          <a:rect l="0" t="0" r="0" b="0"/>
          <a:pathLst>
            <a:path>
              <a:moveTo>
                <a:pt x="258228" y="0"/>
              </a:moveTo>
              <a:lnTo>
                <a:pt x="0" y="1247851"/>
              </a:lnTo>
            </a:path>
          </a:pathLst>
        </a:custGeom>
        <a:noFill/>
        <a:ln w="12700" cap="flat" cmpd="sng" algn="ctr">
          <a:noFill/>
          <a:prstDash val="solid"/>
          <a:miter lim="800000"/>
        </a:ln>
        <a:effectLst/>
      </dgm:spPr>
      <dgm:t>
        <a:bodyPr/>
        <a:lstStyle/>
        <a:p>
          <a:endParaRPr lang="en-GB"/>
        </a:p>
      </dgm:t>
    </dgm:pt>
    <dgm:pt modelId="{07A97D4C-A6EA-472B-B9F4-9A14FB6975E8}">
      <dgm:prSet custT="1"/>
      <dgm:spPr>
        <a:xfrm>
          <a:off x="5971849" y="3379332"/>
          <a:ext cx="2653928" cy="1262796"/>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Contribute towards growing small businesses and cooperatives and designated groups through 30% set aside to support SMME &amp; Cooperatives (PPPFA)</a:t>
          </a:r>
          <a:endParaRPr lang="en-GB" sz="1200" dirty="0" smtClean="0">
            <a:solidFill>
              <a:sysClr val="windowText" lastClr="000000"/>
            </a:solidFill>
            <a:latin typeface="Lato"/>
            <a:ea typeface="+mn-ea"/>
            <a:cs typeface="+mn-cs"/>
          </a:endParaRPr>
        </a:p>
      </dgm:t>
    </dgm:pt>
    <dgm:pt modelId="{50B3E178-BFC2-4416-AC2A-F7733BD7FD55}" type="parTrans" cxnId="{15B14D79-9D12-4039-9189-B36948E4CAA5}">
      <dgm:prSet/>
      <dgm:spPr>
        <a:xfrm>
          <a:off x="5971849" y="1516758"/>
          <a:ext cx="198796" cy="2493971"/>
        </a:xfrm>
        <a:custGeom>
          <a:avLst/>
          <a:gdLst/>
          <a:ahLst/>
          <a:cxnLst/>
          <a:rect l="0" t="0" r="0" b="0"/>
          <a:pathLst>
            <a:path>
              <a:moveTo>
                <a:pt x="198796" y="0"/>
              </a:moveTo>
              <a:lnTo>
                <a:pt x="0" y="2493971"/>
              </a:lnTo>
            </a:path>
          </a:pathLst>
        </a:custGeom>
        <a:noFill/>
        <a:ln w="12700" cap="flat" cmpd="sng" algn="ctr">
          <a:noFill/>
          <a:prstDash val="solid"/>
          <a:miter lim="800000"/>
        </a:ln>
        <a:effectLst/>
      </dgm:spPr>
      <dgm:t>
        <a:bodyPr/>
        <a:lstStyle/>
        <a:p>
          <a:endParaRPr lang="en-GB"/>
        </a:p>
      </dgm:t>
    </dgm:pt>
    <dgm:pt modelId="{696D6805-C316-41B5-882F-4C7EE821847B}" type="sibTrans" cxnId="{15B14D79-9D12-4039-9189-B36948E4CAA5}">
      <dgm:prSet/>
      <dgm:spPr/>
      <dgm:t>
        <a:bodyPr/>
        <a:lstStyle/>
        <a:p>
          <a:endParaRPr lang="en-GB"/>
        </a:p>
      </dgm:t>
    </dgm:pt>
    <dgm:pt modelId="{32925A20-E0E2-491B-BCB4-1CACA4A7DB4F}">
      <dgm:prSet custT="1"/>
      <dgm:spPr>
        <a:xfrm>
          <a:off x="5987806" y="4856818"/>
          <a:ext cx="2653928" cy="753813"/>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Expansion of opportunities to increase self sufficiency</a:t>
          </a:r>
          <a:endParaRPr lang="en-GB" sz="1400" dirty="0">
            <a:solidFill>
              <a:sysClr val="windowText" lastClr="000000"/>
            </a:solidFill>
            <a:latin typeface="Lato"/>
            <a:ea typeface="+mn-ea"/>
            <a:cs typeface="+mn-cs"/>
          </a:endParaRPr>
        </a:p>
      </dgm:t>
    </dgm:pt>
    <dgm:pt modelId="{DDFBE557-D867-483E-91FE-2D29EEFD04B9}" type="sibTrans" cxnId="{41DC3BDF-1547-4112-BA11-56902743FF8D}">
      <dgm:prSet/>
      <dgm:spPr/>
      <dgm:t>
        <a:bodyPr/>
        <a:lstStyle/>
        <a:p>
          <a:endParaRPr lang="en-GB"/>
        </a:p>
      </dgm:t>
    </dgm:pt>
    <dgm:pt modelId="{BB821B91-6134-47D8-8488-D39B8F6FB9F5}" type="parTrans" cxnId="{41DC3BDF-1547-4112-BA11-56902743FF8D}">
      <dgm:prSet/>
      <dgm:spPr>
        <a:xfrm>
          <a:off x="5987806" y="1516758"/>
          <a:ext cx="182840" cy="3716966"/>
        </a:xfrm>
        <a:custGeom>
          <a:avLst/>
          <a:gdLst/>
          <a:ahLst/>
          <a:cxnLst/>
          <a:rect l="0" t="0" r="0" b="0"/>
          <a:pathLst>
            <a:path>
              <a:moveTo>
                <a:pt x="182840" y="0"/>
              </a:moveTo>
              <a:lnTo>
                <a:pt x="0" y="3716966"/>
              </a:lnTo>
            </a:path>
          </a:pathLst>
        </a:custGeom>
        <a:noFill/>
        <a:ln w="12700" cap="flat" cmpd="sng" algn="ctr">
          <a:noFill/>
          <a:prstDash val="solid"/>
          <a:miter lim="800000"/>
        </a:ln>
        <a:effectLst/>
      </dgm:spPr>
      <dgm:t>
        <a:bodyPr/>
        <a:lstStyle/>
        <a:p>
          <a:endParaRPr lang="en-GB"/>
        </a:p>
      </dgm:t>
    </dgm:pt>
    <dgm:pt modelId="{772FF846-B977-4229-8998-FD334892F6D6}">
      <dgm:prSet phldrT="[Text]" custT="1"/>
      <dgm:spPr>
        <a:xfrm>
          <a:off x="3032984" y="5600816"/>
          <a:ext cx="2690278" cy="412353"/>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Approve the appropriate shift system after sufficient staffing has been provided</a:t>
          </a:r>
          <a:endParaRPr lang="en-GB" sz="1050" dirty="0" smtClean="0">
            <a:solidFill>
              <a:sysClr val="windowText" lastClr="000000"/>
            </a:solidFill>
            <a:latin typeface="Lato"/>
            <a:ea typeface="+mn-ea"/>
            <a:cs typeface="+mn-cs"/>
          </a:endParaRPr>
        </a:p>
      </dgm:t>
    </dgm:pt>
    <dgm:pt modelId="{64F965F4-0063-4154-85F6-3E001459EE1E}" type="parTrans" cxnId="{08BF7DC3-15BE-404E-9EFB-7C50D9C07D2F}">
      <dgm:prSet/>
      <dgm:spPr>
        <a:xfrm>
          <a:off x="3032984" y="1508181"/>
          <a:ext cx="189379" cy="4298811"/>
        </a:xfrm>
        <a:custGeom>
          <a:avLst/>
          <a:gdLst/>
          <a:ahLst/>
          <a:cxnLst/>
          <a:rect l="0" t="0" r="0" b="0"/>
          <a:pathLst>
            <a:path>
              <a:moveTo>
                <a:pt x="189379" y="0"/>
              </a:moveTo>
              <a:lnTo>
                <a:pt x="0" y="4298811"/>
              </a:lnTo>
            </a:path>
          </a:pathLst>
        </a:custGeom>
        <a:noFill/>
        <a:ln w="12700" cap="flat" cmpd="sng" algn="ctr">
          <a:noFill/>
          <a:prstDash val="solid"/>
          <a:miter lim="800000"/>
        </a:ln>
        <a:effectLst/>
      </dgm:spPr>
      <dgm:t>
        <a:bodyPr/>
        <a:lstStyle/>
        <a:p>
          <a:endParaRPr lang="en-GB"/>
        </a:p>
      </dgm:t>
    </dgm:pt>
    <dgm:pt modelId="{CAC25007-4073-4055-B964-CEFD35EB0825}" type="sibTrans" cxnId="{08BF7DC3-15BE-404E-9EFB-7C50D9C07D2F}">
      <dgm:prSet/>
      <dgm:spPr/>
      <dgm:t>
        <a:bodyPr/>
        <a:lstStyle/>
        <a:p>
          <a:endParaRPr lang="en-GB"/>
        </a:p>
      </dgm:t>
    </dgm:pt>
    <dgm:pt modelId="{DE6CB324-04C8-4039-A4A1-2D784450FD41}">
      <dgm:prSet custT="1"/>
      <dgm:spPr>
        <a:xfrm>
          <a:off x="3049376" y="6108111"/>
          <a:ext cx="2690278" cy="50897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900" dirty="0" smtClean="0">
              <a:solidFill>
                <a:sysClr val="windowText" lastClr="000000"/>
              </a:solidFill>
              <a:latin typeface="Lato"/>
              <a:ea typeface="+mn-ea"/>
              <a:cs typeface="+mn-cs"/>
            </a:rPr>
            <a:t>Implement integrated employee health and wellness programmes and training  aligned to COVID 19 SOPs and protocols</a:t>
          </a:r>
          <a:endParaRPr lang="en-GB" sz="900" dirty="0" smtClean="0">
            <a:solidFill>
              <a:sysClr val="windowText" lastClr="000000"/>
            </a:solidFill>
            <a:latin typeface="Lato"/>
            <a:ea typeface="+mn-ea"/>
            <a:cs typeface="+mn-cs"/>
          </a:endParaRPr>
        </a:p>
      </dgm:t>
    </dgm:pt>
    <dgm:pt modelId="{128CD2A8-559B-42A1-B1A9-0396AC1A0AFE}" type="parTrans" cxnId="{3818A852-7E02-4176-9B23-7070054FD95C}">
      <dgm:prSet/>
      <dgm:spPr>
        <a:xfrm>
          <a:off x="3049376" y="1508181"/>
          <a:ext cx="172986" cy="4854416"/>
        </a:xfrm>
        <a:custGeom>
          <a:avLst/>
          <a:gdLst/>
          <a:ahLst/>
          <a:cxnLst/>
          <a:rect l="0" t="0" r="0" b="0"/>
          <a:pathLst>
            <a:path>
              <a:moveTo>
                <a:pt x="172986" y="0"/>
              </a:moveTo>
              <a:lnTo>
                <a:pt x="0" y="4854416"/>
              </a:lnTo>
            </a:path>
          </a:pathLst>
        </a:custGeom>
        <a:noFill/>
        <a:ln w="12700" cap="flat" cmpd="sng" algn="ctr">
          <a:noFill/>
          <a:prstDash val="solid"/>
          <a:miter lim="800000"/>
        </a:ln>
        <a:effectLst/>
      </dgm:spPr>
      <dgm:t>
        <a:bodyPr/>
        <a:lstStyle/>
        <a:p>
          <a:endParaRPr lang="en-GB"/>
        </a:p>
      </dgm:t>
    </dgm:pt>
    <dgm:pt modelId="{6F693912-8461-40A5-A0DD-40F146CA405B}" type="sibTrans" cxnId="{3818A852-7E02-4176-9B23-7070054FD95C}">
      <dgm:prSet/>
      <dgm:spPr/>
      <dgm:t>
        <a:bodyPr/>
        <a:lstStyle/>
        <a:p>
          <a:endParaRPr lang="en-GB"/>
        </a:p>
      </dgm:t>
    </dgm:pt>
    <dgm:pt modelId="{9002187A-E2EC-4717-831E-102A4221D70E}">
      <dgm:prSet phldrT="[Text]"/>
      <dgm:spPr>
        <a:xfrm>
          <a:off x="8909911" y="5158865"/>
          <a:ext cx="2537984" cy="56535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Monitoring of compliance to legislation and prescripts</a:t>
          </a:r>
          <a:endParaRPr lang="en-GB" dirty="0">
            <a:solidFill>
              <a:sysClr val="windowText" lastClr="000000"/>
            </a:solidFill>
            <a:latin typeface="Lato"/>
            <a:ea typeface="+mn-ea"/>
            <a:cs typeface="+mn-cs"/>
          </a:endParaRPr>
        </a:p>
      </dgm:t>
    </dgm:pt>
    <dgm:pt modelId="{4C075103-1FAA-4D49-8304-A018805FFDE8}" type="parTrans" cxnId="{3BA6B1A4-DD46-4EC4-89EB-696660C6E425}">
      <dgm:prSet/>
      <dgm:spPr>
        <a:xfrm>
          <a:off x="8909911" y="1516758"/>
          <a:ext cx="165726" cy="3924786"/>
        </a:xfrm>
        <a:custGeom>
          <a:avLst/>
          <a:gdLst/>
          <a:ahLst/>
          <a:cxnLst/>
          <a:rect l="0" t="0" r="0" b="0"/>
          <a:pathLst>
            <a:path>
              <a:moveTo>
                <a:pt x="165726" y="0"/>
              </a:moveTo>
              <a:lnTo>
                <a:pt x="0" y="3924786"/>
              </a:lnTo>
            </a:path>
          </a:pathLst>
        </a:custGeom>
        <a:noFill/>
        <a:ln w="12700" cap="flat" cmpd="sng" algn="ctr">
          <a:noFill/>
          <a:prstDash val="solid"/>
          <a:miter lim="800000"/>
        </a:ln>
        <a:effectLst/>
      </dgm:spPr>
      <dgm:t>
        <a:bodyPr/>
        <a:lstStyle/>
        <a:p>
          <a:endParaRPr lang="en-GB"/>
        </a:p>
      </dgm:t>
    </dgm:pt>
    <dgm:pt modelId="{1E658E4A-AB82-4D65-AA86-17D4B91A0032}" type="sibTrans" cxnId="{3BA6B1A4-DD46-4EC4-89EB-696660C6E425}">
      <dgm:prSet/>
      <dgm:spPr/>
      <dgm:t>
        <a:bodyPr/>
        <a:lstStyle/>
        <a:p>
          <a:endParaRPr lang="en-GB"/>
        </a:p>
      </dgm:t>
    </dgm:pt>
    <dgm:pt modelId="{795D8047-9602-4F28-A46F-427EBC32A9A5}">
      <dgm:prSet/>
      <dgm:spPr>
        <a:xfrm>
          <a:off x="8898514" y="5761983"/>
          <a:ext cx="2537984" cy="34023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a:solidFill>
                <a:sysClr val="windowText" lastClr="000000"/>
              </a:solidFill>
              <a:latin typeface="Lato"/>
              <a:ea typeface="+mn-ea"/>
              <a:cs typeface="+mn-cs"/>
            </a:rPr>
            <a:t>Consequence Management</a:t>
          </a:r>
        </a:p>
      </dgm:t>
    </dgm:pt>
    <dgm:pt modelId="{BFBB2B3E-EE3E-4352-9F16-33C8D905B52C}" type="parTrans" cxnId="{1FA7E189-67F7-4787-9D1A-C5E4B2ED2822}">
      <dgm:prSet/>
      <dgm:spPr>
        <a:xfrm>
          <a:off x="8898514" y="1516758"/>
          <a:ext cx="177124" cy="4415340"/>
        </a:xfrm>
        <a:custGeom>
          <a:avLst/>
          <a:gdLst/>
          <a:ahLst/>
          <a:cxnLst/>
          <a:rect l="0" t="0" r="0" b="0"/>
          <a:pathLst>
            <a:path>
              <a:moveTo>
                <a:pt x="177124" y="0"/>
              </a:moveTo>
              <a:lnTo>
                <a:pt x="0" y="4415340"/>
              </a:lnTo>
            </a:path>
          </a:pathLst>
        </a:custGeom>
        <a:noFill/>
        <a:ln w="12700" cap="flat" cmpd="sng" algn="ctr">
          <a:noFill/>
          <a:prstDash val="solid"/>
          <a:miter lim="800000"/>
        </a:ln>
        <a:effectLst/>
      </dgm:spPr>
      <dgm:t>
        <a:bodyPr/>
        <a:lstStyle/>
        <a:p>
          <a:endParaRPr lang="en-GB"/>
        </a:p>
      </dgm:t>
    </dgm:pt>
    <dgm:pt modelId="{B3E21C83-25C8-42D8-8632-98FE330468CD}" type="sibTrans" cxnId="{1FA7E189-67F7-4787-9D1A-C5E4B2ED2822}">
      <dgm:prSet/>
      <dgm:spPr/>
      <dgm:t>
        <a:bodyPr/>
        <a:lstStyle/>
        <a:p>
          <a:endParaRPr lang="en-GB"/>
        </a:p>
      </dgm:t>
    </dgm:pt>
    <dgm:pt modelId="{7CE8175F-BCF0-4B92-A842-728EC78F57D8}">
      <dgm:prSet/>
      <dgm:spPr>
        <a:xfrm>
          <a:off x="8882393" y="6170843"/>
          <a:ext cx="2537984" cy="34023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a:solidFill>
                <a:sysClr val="windowText" lastClr="000000"/>
              </a:solidFill>
              <a:latin typeface="Lato"/>
              <a:ea typeface="+mn-ea"/>
              <a:cs typeface="+mn-cs"/>
            </a:rPr>
            <a:t>Fraud awareness</a:t>
          </a:r>
        </a:p>
      </dgm:t>
    </dgm:pt>
    <dgm:pt modelId="{3E8566DB-3FD9-4E15-964E-6C880A5BB489}" type="parTrans" cxnId="{4B3AF09B-29B5-432E-8673-8C6752AB21C7}">
      <dgm:prSet/>
      <dgm:spPr>
        <a:xfrm>
          <a:off x="8882393" y="1516758"/>
          <a:ext cx="193244" cy="4824200"/>
        </a:xfrm>
        <a:custGeom>
          <a:avLst/>
          <a:gdLst/>
          <a:ahLst/>
          <a:cxnLst/>
          <a:rect l="0" t="0" r="0" b="0"/>
          <a:pathLst>
            <a:path>
              <a:moveTo>
                <a:pt x="193244" y="0"/>
              </a:moveTo>
              <a:lnTo>
                <a:pt x="0" y="4824200"/>
              </a:lnTo>
            </a:path>
          </a:pathLst>
        </a:custGeom>
        <a:noFill/>
        <a:ln w="12700" cap="flat" cmpd="sng" algn="ctr">
          <a:noFill/>
          <a:prstDash val="solid"/>
          <a:miter lim="800000"/>
        </a:ln>
        <a:effectLst/>
      </dgm:spPr>
      <dgm:t>
        <a:bodyPr/>
        <a:lstStyle/>
        <a:p>
          <a:endParaRPr lang="en-GB"/>
        </a:p>
      </dgm:t>
    </dgm:pt>
    <dgm:pt modelId="{266FE5F5-DC7C-4293-9928-2DDF57061B31}" type="sibTrans" cxnId="{4B3AF09B-29B5-432E-8673-8C6752AB21C7}">
      <dgm:prSet/>
      <dgm:spPr/>
      <dgm:t>
        <a:bodyPr/>
        <a:lstStyle/>
        <a:p>
          <a:endParaRPr lang="en-GB"/>
        </a:p>
      </dgm:t>
    </dgm:pt>
    <dgm:pt modelId="{9EBBB895-7600-4C5C-AD2A-85DBB7813F37}">
      <dgm:prSet custT="1"/>
      <dgm:spPr>
        <a:xfrm>
          <a:off x="3064190" y="6723406"/>
          <a:ext cx="2690278" cy="34023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Professionalise the Department </a:t>
          </a:r>
          <a:endParaRPr lang="en-GB" sz="1050" dirty="0" smtClean="0">
            <a:solidFill>
              <a:sysClr val="windowText" lastClr="000000"/>
            </a:solidFill>
            <a:latin typeface="Lato"/>
            <a:ea typeface="+mn-ea"/>
            <a:cs typeface="+mn-cs"/>
          </a:endParaRPr>
        </a:p>
      </dgm:t>
    </dgm:pt>
    <dgm:pt modelId="{862E5178-4EA9-49DF-9E29-89AA5E3C5029}" type="parTrans" cxnId="{BBA86DD5-1742-4C9F-84A2-5D74CDCEEAB2}">
      <dgm:prSet/>
      <dgm:spPr>
        <a:xfrm>
          <a:off x="3064190" y="1508181"/>
          <a:ext cx="158173" cy="5385340"/>
        </a:xfrm>
        <a:custGeom>
          <a:avLst/>
          <a:gdLst/>
          <a:ahLst/>
          <a:cxnLst/>
          <a:rect l="0" t="0" r="0" b="0"/>
          <a:pathLst>
            <a:path>
              <a:moveTo>
                <a:pt x="158173" y="0"/>
              </a:moveTo>
              <a:lnTo>
                <a:pt x="0" y="5385340"/>
              </a:lnTo>
            </a:path>
          </a:pathLst>
        </a:custGeom>
        <a:noFill/>
        <a:ln w="12700" cap="flat" cmpd="sng" algn="ctr">
          <a:noFill/>
          <a:prstDash val="solid"/>
          <a:miter lim="800000"/>
        </a:ln>
        <a:effectLst/>
      </dgm:spPr>
      <dgm:t>
        <a:bodyPr/>
        <a:lstStyle/>
        <a:p>
          <a:endParaRPr lang="en-GB"/>
        </a:p>
      </dgm:t>
    </dgm:pt>
    <dgm:pt modelId="{BF217296-EF35-4EE0-873D-C5A079B5430C}" type="sibTrans" cxnId="{BBA86DD5-1742-4C9F-84A2-5D74CDCEEAB2}">
      <dgm:prSet/>
      <dgm:spPr/>
      <dgm:t>
        <a:bodyPr/>
        <a:lstStyle/>
        <a:p>
          <a:endParaRPr lang="en-GB"/>
        </a:p>
      </dgm:t>
    </dgm:pt>
    <dgm:pt modelId="{C80C8456-3BBA-45FD-AD23-3C06B4C3CF8C}" type="pres">
      <dgm:prSet presAssocID="{AEA21CE9-A7A8-4EE0-8D08-C3300B5032C0}" presName="hierChild1" presStyleCnt="0">
        <dgm:presLayoutVars>
          <dgm:orgChart val="1"/>
          <dgm:chPref val="1"/>
          <dgm:dir/>
          <dgm:animOne val="branch"/>
          <dgm:animLvl val="lvl"/>
          <dgm:resizeHandles/>
        </dgm:presLayoutVars>
      </dgm:prSet>
      <dgm:spPr/>
      <dgm:t>
        <a:bodyPr/>
        <a:lstStyle/>
        <a:p>
          <a:endParaRPr lang="en-GB"/>
        </a:p>
      </dgm:t>
    </dgm:pt>
    <dgm:pt modelId="{F88D0735-F9A5-4838-BF81-5F41B1860C85}" type="pres">
      <dgm:prSet presAssocID="{D9A67AE4-4575-43B7-A6F3-0BD58EA221F0}" presName="hierRoot1" presStyleCnt="0">
        <dgm:presLayoutVars>
          <dgm:hierBranch val="init"/>
        </dgm:presLayoutVars>
      </dgm:prSet>
      <dgm:spPr/>
    </dgm:pt>
    <dgm:pt modelId="{3AF30B77-46B7-4926-8FDC-1C8E1DF50EF1}" type="pres">
      <dgm:prSet presAssocID="{D9A67AE4-4575-43B7-A6F3-0BD58EA221F0}" presName="rootComposite1" presStyleCnt="0"/>
      <dgm:spPr/>
    </dgm:pt>
    <dgm:pt modelId="{4647B7EA-AC87-4476-9537-D181D7693287}" type="pres">
      <dgm:prSet presAssocID="{D9A67AE4-4575-43B7-A6F3-0BD58EA221F0}" presName="rootText1" presStyleLbl="node0" presStyleIdx="0" presStyleCnt="1" custScaleX="1994645" custScaleY="223689" custLinFactNeighborX="12325" custLinFactNeighborY="9666">
        <dgm:presLayoutVars>
          <dgm:chPref val="3"/>
        </dgm:presLayoutVars>
      </dgm:prSet>
      <dgm:spPr/>
      <dgm:t>
        <a:bodyPr/>
        <a:lstStyle/>
        <a:p>
          <a:endParaRPr lang="en-GB"/>
        </a:p>
      </dgm:t>
    </dgm:pt>
    <dgm:pt modelId="{11C8C23B-B493-47C5-9205-B34A41C8E805}" type="pres">
      <dgm:prSet presAssocID="{D9A67AE4-4575-43B7-A6F3-0BD58EA221F0}" presName="rootConnector1" presStyleLbl="node1" presStyleIdx="0" presStyleCnt="0"/>
      <dgm:spPr/>
      <dgm:t>
        <a:bodyPr/>
        <a:lstStyle/>
        <a:p>
          <a:endParaRPr lang="en-GB"/>
        </a:p>
      </dgm:t>
    </dgm:pt>
    <dgm:pt modelId="{6ADA6EB7-E841-4017-AB6F-9758EC075640}" type="pres">
      <dgm:prSet presAssocID="{D9A67AE4-4575-43B7-A6F3-0BD58EA221F0}" presName="hierChild2" presStyleCnt="0"/>
      <dgm:spPr/>
    </dgm:pt>
    <dgm:pt modelId="{D8734DF8-E79C-44E6-9764-7B2B826E2D1C}" type="pres">
      <dgm:prSet presAssocID="{3DAC40A4-5971-441F-9133-8187AFA97BC7}" presName="Name37" presStyleLbl="parChTrans1D2" presStyleIdx="0" presStyleCnt="4"/>
      <dgm:spPr/>
      <dgm:t>
        <a:bodyPr/>
        <a:lstStyle/>
        <a:p>
          <a:endParaRPr lang="en-GB"/>
        </a:p>
      </dgm:t>
    </dgm:pt>
    <dgm:pt modelId="{3BF45422-8F93-428C-91EC-E06D9991B6FE}" type="pres">
      <dgm:prSet presAssocID="{3FA8E52E-41A8-4B79-88F3-ABDEBF17CD17}" presName="hierRoot2" presStyleCnt="0">
        <dgm:presLayoutVars>
          <dgm:hierBranch val="init"/>
        </dgm:presLayoutVars>
      </dgm:prSet>
      <dgm:spPr/>
    </dgm:pt>
    <dgm:pt modelId="{8CEB8CCE-8615-474E-83B5-07DDBEFCE369}" type="pres">
      <dgm:prSet presAssocID="{3FA8E52E-41A8-4B79-88F3-ABDEBF17CD17}" presName="rootComposite" presStyleCnt="0"/>
      <dgm:spPr/>
    </dgm:pt>
    <dgm:pt modelId="{B7CC506E-76AA-4F38-A791-F42D4C7CADF8}" type="pres">
      <dgm:prSet presAssocID="{3FA8E52E-41A8-4B79-88F3-ABDEBF17CD17}" presName="rootText" presStyleLbl="node2" presStyleIdx="0" presStyleCnt="4" custScaleX="489722" custScaleY="161051" custLinFactNeighborX="-5435" custLinFactNeighborY="-26953">
        <dgm:presLayoutVars>
          <dgm:chPref val="3"/>
        </dgm:presLayoutVars>
      </dgm:prSet>
      <dgm:spPr/>
      <dgm:t>
        <a:bodyPr/>
        <a:lstStyle/>
        <a:p>
          <a:endParaRPr lang="en-GB"/>
        </a:p>
      </dgm:t>
    </dgm:pt>
    <dgm:pt modelId="{9A3B73B8-A734-4DA9-B323-C843A6C97FD7}" type="pres">
      <dgm:prSet presAssocID="{3FA8E52E-41A8-4B79-88F3-ABDEBF17CD17}" presName="rootConnector" presStyleLbl="node2" presStyleIdx="0" presStyleCnt="4"/>
      <dgm:spPr/>
      <dgm:t>
        <a:bodyPr/>
        <a:lstStyle/>
        <a:p>
          <a:endParaRPr lang="en-GB"/>
        </a:p>
      </dgm:t>
    </dgm:pt>
    <dgm:pt modelId="{EE113FB6-5CEC-4C8E-8E8F-E1126C6E7BAF}" type="pres">
      <dgm:prSet presAssocID="{3FA8E52E-41A8-4B79-88F3-ABDEBF17CD17}" presName="hierChild4" presStyleCnt="0"/>
      <dgm:spPr/>
    </dgm:pt>
    <dgm:pt modelId="{1E6F7728-0201-4A15-AC95-CC7E377B1A72}" type="pres">
      <dgm:prSet presAssocID="{EF5E585F-3673-4CC4-9E22-D48DF4FE27E6}" presName="Name37" presStyleLbl="parChTrans1D3" presStyleIdx="0" presStyleCnt="27"/>
      <dgm:spPr/>
      <dgm:t>
        <a:bodyPr/>
        <a:lstStyle/>
        <a:p>
          <a:endParaRPr lang="en-GB"/>
        </a:p>
      </dgm:t>
    </dgm:pt>
    <dgm:pt modelId="{FF7C084A-888B-49ED-9D1D-C688AFE06D8A}" type="pres">
      <dgm:prSet presAssocID="{E506AFA8-1B82-43BC-98C8-F80DC54DD35B}" presName="hierRoot2" presStyleCnt="0">
        <dgm:presLayoutVars>
          <dgm:hierBranch val="init"/>
        </dgm:presLayoutVars>
      </dgm:prSet>
      <dgm:spPr/>
    </dgm:pt>
    <dgm:pt modelId="{5B767B2E-DABF-46EA-AA3A-68FBBCE70CEF}" type="pres">
      <dgm:prSet presAssocID="{E506AFA8-1B82-43BC-98C8-F80DC54DD35B}" presName="rootComposite" presStyleCnt="0"/>
      <dgm:spPr/>
    </dgm:pt>
    <dgm:pt modelId="{AD2E7CCF-8632-48BA-AB5F-38D672160CB7}" type="pres">
      <dgm:prSet presAssocID="{E506AFA8-1B82-43BC-98C8-F80DC54DD35B}" presName="rootText" presStyleLbl="node3" presStyleIdx="0" presStyleCnt="27" custScaleX="428507" custScaleY="208777" custLinFactNeighborX="-96172" custLinFactNeighborY="-36489">
        <dgm:presLayoutVars>
          <dgm:chPref val="3"/>
        </dgm:presLayoutVars>
      </dgm:prSet>
      <dgm:spPr/>
      <dgm:t>
        <a:bodyPr/>
        <a:lstStyle/>
        <a:p>
          <a:endParaRPr lang="en-GB"/>
        </a:p>
      </dgm:t>
    </dgm:pt>
    <dgm:pt modelId="{CC4D928E-8FD4-48D7-883D-76404CA06E7E}" type="pres">
      <dgm:prSet presAssocID="{E506AFA8-1B82-43BC-98C8-F80DC54DD35B}" presName="rootConnector" presStyleLbl="node3" presStyleIdx="0" presStyleCnt="27"/>
      <dgm:spPr/>
      <dgm:t>
        <a:bodyPr/>
        <a:lstStyle/>
        <a:p>
          <a:endParaRPr lang="en-GB"/>
        </a:p>
      </dgm:t>
    </dgm:pt>
    <dgm:pt modelId="{FA32E815-7F22-426A-90B0-8E402FE47375}" type="pres">
      <dgm:prSet presAssocID="{E506AFA8-1B82-43BC-98C8-F80DC54DD35B}" presName="hierChild4" presStyleCnt="0"/>
      <dgm:spPr/>
    </dgm:pt>
    <dgm:pt modelId="{18F8BF39-FA26-4730-97B0-68D18375DDD3}" type="pres">
      <dgm:prSet presAssocID="{E506AFA8-1B82-43BC-98C8-F80DC54DD35B}" presName="hierChild5" presStyleCnt="0"/>
      <dgm:spPr/>
    </dgm:pt>
    <dgm:pt modelId="{E69AAF95-112D-4CA3-8B25-A2C1AA2BFB20}" type="pres">
      <dgm:prSet presAssocID="{9C577F41-001A-42AE-AABF-54268D15A364}" presName="Name37" presStyleLbl="parChTrans1D3" presStyleIdx="1" presStyleCnt="27"/>
      <dgm:spPr/>
      <dgm:t>
        <a:bodyPr/>
        <a:lstStyle/>
        <a:p>
          <a:endParaRPr lang="en-GB"/>
        </a:p>
      </dgm:t>
    </dgm:pt>
    <dgm:pt modelId="{80A3AA10-C1FA-471D-A249-6AFB3714DCB8}" type="pres">
      <dgm:prSet presAssocID="{2758B6C3-6786-4A0A-94BA-3C0B87000D62}" presName="hierRoot2" presStyleCnt="0">
        <dgm:presLayoutVars>
          <dgm:hierBranch val="init"/>
        </dgm:presLayoutVars>
      </dgm:prSet>
      <dgm:spPr/>
    </dgm:pt>
    <dgm:pt modelId="{A88FBACF-46A7-4A42-A1E4-BC43DEA31223}" type="pres">
      <dgm:prSet presAssocID="{2758B6C3-6786-4A0A-94BA-3C0B87000D62}" presName="rootComposite" presStyleCnt="0"/>
      <dgm:spPr/>
    </dgm:pt>
    <dgm:pt modelId="{3AC870FB-C26A-455D-A787-26FB8A768500}" type="pres">
      <dgm:prSet presAssocID="{2758B6C3-6786-4A0A-94BA-3C0B87000D62}" presName="rootText" presStyleLbl="node3" presStyleIdx="1" presStyleCnt="27" custScaleX="428507" custScaleY="162382" custLinFactNeighborX="-94473" custLinFactNeighborY="-46524">
        <dgm:presLayoutVars>
          <dgm:chPref val="3"/>
        </dgm:presLayoutVars>
      </dgm:prSet>
      <dgm:spPr/>
      <dgm:t>
        <a:bodyPr/>
        <a:lstStyle/>
        <a:p>
          <a:endParaRPr lang="en-GB"/>
        </a:p>
      </dgm:t>
    </dgm:pt>
    <dgm:pt modelId="{E350FF0A-3899-4666-BFBB-4391AE4ED83D}" type="pres">
      <dgm:prSet presAssocID="{2758B6C3-6786-4A0A-94BA-3C0B87000D62}" presName="rootConnector" presStyleLbl="node3" presStyleIdx="1" presStyleCnt="27"/>
      <dgm:spPr/>
      <dgm:t>
        <a:bodyPr/>
        <a:lstStyle/>
        <a:p>
          <a:endParaRPr lang="en-GB"/>
        </a:p>
      </dgm:t>
    </dgm:pt>
    <dgm:pt modelId="{85CF59DE-9063-4A6A-825C-7A44436C0528}" type="pres">
      <dgm:prSet presAssocID="{2758B6C3-6786-4A0A-94BA-3C0B87000D62}" presName="hierChild4" presStyleCnt="0"/>
      <dgm:spPr/>
    </dgm:pt>
    <dgm:pt modelId="{9C2EBD5A-543C-42FB-A080-47829399EF4A}" type="pres">
      <dgm:prSet presAssocID="{2758B6C3-6786-4A0A-94BA-3C0B87000D62}" presName="hierChild5" presStyleCnt="0"/>
      <dgm:spPr/>
    </dgm:pt>
    <dgm:pt modelId="{8912F301-E950-4E0C-B146-0A5185F9A67F}" type="pres">
      <dgm:prSet presAssocID="{6FA0B268-20E6-499D-A943-270BC5C30AC9}" presName="Name37" presStyleLbl="parChTrans1D3" presStyleIdx="2" presStyleCnt="27"/>
      <dgm:spPr/>
      <dgm:t>
        <a:bodyPr/>
        <a:lstStyle/>
        <a:p>
          <a:endParaRPr lang="en-GB"/>
        </a:p>
      </dgm:t>
    </dgm:pt>
    <dgm:pt modelId="{834BCB6B-E703-4F1D-921C-98C1AA78C974}" type="pres">
      <dgm:prSet presAssocID="{2F5C0CB3-A347-4DB6-A843-8920EBFA59B6}" presName="hierRoot2" presStyleCnt="0">
        <dgm:presLayoutVars>
          <dgm:hierBranch val="init"/>
        </dgm:presLayoutVars>
      </dgm:prSet>
      <dgm:spPr/>
    </dgm:pt>
    <dgm:pt modelId="{AF158338-D549-4974-9E57-FC481999E22C}" type="pres">
      <dgm:prSet presAssocID="{2F5C0CB3-A347-4DB6-A843-8920EBFA59B6}" presName="rootComposite" presStyleCnt="0"/>
      <dgm:spPr/>
    </dgm:pt>
    <dgm:pt modelId="{68F9805C-8CAE-4938-9623-6375F921F333}" type="pres">
      <dgm:prSet presAssocID="{2F5C0CB3-A347-4DB6-A843-8920EBFA59B6}" presName="rootText" presStyleLbl="node3" presStyleIdx="2" presStyleCnt="27" custScaleX="428507" custScaleY="166169" custLinFactNeighborX="-94473" custLinFactNeighborY="-59552">
        <dgm:presLayoutVars>
          <dgm:chPref val="3"/>
        </dgm:presLayoutVars>
      </dgm:prSet>
      <dgm:spPr/>
      <dgm:t>
        <a:bodyPr/>
        <a:lstStyle/>
        <a:p>
          <a:endParaRPr lang="en-GB"/>
        </a:p>
      </dgm:t>
    </dgm:pt>
    <dgm:pt modelId="{EED161AF-40AD-43B2-8B46-38DF36ECA8B3}" type="pres">
      <dgm:prSet presAssocID="{2F5C0CB3-A347-4DB6-A843-8920EBFA59B6}" presName="rootConnector" presStyleLbl="node3" presStyleIdx="2" presStyleCnt="27"/>
      <dgm:spPr/>
      <dgm:t>
        <a:bodyPr/>
        <a:lstStyle/>
        <a:p>
          <a:endParaRPr lang="en-GB"/>
        </a:p>
      </dgm:t>
    </dgm:pt>
    <dgm:pt modelId="{A48F0EED-10B4-43B4-8314-E035F4FF4276}" type="pres">
      <dgm:prSet presAssocID="{2F5C0CB3-A347-4DB6-A843-8920EBFA59B6}" presName="hierChild4" presStyleCnt="0"/>
      <dgm:spPr/>
    </dgm:pt>
    <dgm:pt modelId="{E10B221C-A66C-4977-B1B3-3DB40C85D802}" type="pres">
      <dgm:prSet presAssocID="{2F5C0CB3-A347-4DB6-A843-8920EBFA59B6}" presName="hierChild5" presStyleCnt="0"/>
      <dgm:spPr/>
    </dgm:pt>
    <dgm:pt modelId="{59553AB9-15C6-41A5-86D0-0A8B70218E8B}" type="pres">
      <dgm:prSet presAssocID="{B0DC9A8E-7A12-4BF0-8A96-882866292D90}" presName="Name37" presStyleLbl="parChTrans1D3" presStyleIdx="3" presStyleCnt="27"/>
      <dgm:spPr/>
      <dgm:t>
        <a:bodyPr/>
        <a:lstStyle/>
        <a:p>
          <a:endParaRPr lang="en-GB"/>
        </a:p>
      </dgm:t>
    </dgm:pt>
    <dgm:pt modelId="{B52134F1-1856-4C86-A778-3A7D191FACBC}" type="pres">
      <dgm:prSet presAssocID="{E59C7045-2EF3-4659-8457-FC2DC2C82928}" presName="hierRoot2" presStyleCnt="0">
        <dgm:presLayoutVars>
          <dgm:hierBranch val="init"/>
        </dgm:presLayoutVars>
      </dgm:prSet>
      <dgm:spPr/>
    </dgm:pt>
    <dgm:pt modelId="{0B4A54DC-C4AF-4F2B-9936-BD4F6AA0CF52}" type="pres">
      <dgm:prSet presAssocID="{E59C7045-2EF3-4659-8457-FC2DC2C82928}" presName="rootComposite" presStyleCnt="0"/>
      <dgm:spPr/>
    </dgm:pt>
    <dgm:pt modelId="{61B4AA93-0842-4D55-B889-C5D4706F273C}" type="pres">
      <dgm:prSet presAssocID="{E59C7045-2EF3-4659-8457-FC2DC2C82928}" presName="rootText" presStyleLbl="node3" presStyleIdx="3" presStyleCnt="27" custScaleX="428507" custScaleY="166169" custLinFactNeighborX="-94473" custLinFactNeighborY="-62314">
        <dgm:presLayoutVars>
          <dgm:chPref val="3"/>
        </dgm:presLayoutVars>
      </dgm:prSet>
      <dgm:spPr/>
      <dgm:t>
        <a:bodyPr/>
        <a:lstStyle/>
        <a:p>
          <a:endParaRPr lang="en-GB"/>
        </a:p>
      </dgm:t>
    </dgm:pt>
    <dgm:pt modelId="{E846EEA4-3606-4E73-993D-7A44D043C02F}" type="pres">
      <dgm:prSet presAssocID="{E59C7045-2EF3-4659-8457-FC2DC2C82928}" presName="rootConnector" presStyleLbl="node3" presStyleIdx="3" presStyleCnt="27"/>
      <dgm:spPr/>
      <dgm:t>
        <a:bodyPr/>
        <a:lstStyle/>
        <a:p>
          <a:endParaRPr lang="en-GB"/>
        </a:p>
      </dgm:t>
    </dgm:pt>
    <dgm:pt modelId="{2FA24229-AE3F-44B6-8627-7B111FEBB73B}" type="pres">
      <dgm:prSet presAssocID="{E59C7045-2EF3-4659-8457-FC2DC2C82928}" presName="hierChild4" presStyleCnt="0"/>
      <dgm:spPr/>
    </dgm:pt>
    <dgm:pt modelId="{CC4B2863-8354-4EE9-8135-BEA83B40949F}" type="pres">
      <dgm:prSet presAssocID="{E59C7045-2EF3-4659-8457-FC2DC2C82928}" presName="hierChild5" presStyleCnt="0"/>
      <dgm:spPr/>
    </dgm:pt>
    <dgm:pt modelId="{E2C6E8CA-49E0-4ED9-8590-8C6DE8D745C9}" type="pres">
      <dgm:prSet presAssocID="{AD30EE2C-612E-4D7A-9A9D-63748E547A4E}" presName="Name37" presStyleLbl="parChTrans1D3" presStyleIdx="4" presStyleCnt="27"/>
      <dgm:spPr/>
      <dgm:t>
        <a:bodyPr/>
        <a:lstStyle/>
        <a:p>
          <a:endParaRPr lang="en-GB"/>
        </a:p>
      </dgm:t>
    </dgm:pt>
    <dgm:pt modelId="{0D50DA4F-9586-41F2-91B6-BC19DB900CA3}" type="pres">
      <dgm:prSet presAssocID="{7741473B-E186-4580-BC20-E482C22F84BC}" presName="hierRoot2" presStyleCnt="0">
        <dgm:presLayoutVars>
          <dgm:hierBranch val="init"/>
        </dgm:presLayoutVars>
      </dgm:prSet>
      <dgm:spPr/>
    </dgm:pt>
    <dgm:pt modelId="{9CCCE715-3EF9-48A9-BC41-62EC08586110}" type="pres">
      <dgm:prSet presAssocID="{7741473B-E186-4580-BC20-E482C22F84BC}" presName="rootComposite" presStyleCnt="0"/>
      <dgm:spPr/>
    </dgm:pt>
    <dgm:pt modelId="{3D806196-A09E-42B6-89DA-5DE151B649CC}" type="pres">
      <dgm:prSet presAssocID="{7741473B-E186-4580-BC20-E482C22F84BC}" presName="rootText" presStyleLbl="node3" presStyleIdx="4" presStyleCnt="27" custScaleX="428507" custScaleY="166169" custLinFactNeighborX="-94473" custLinFactNeighborY="-60387">
        <dgm:presLayoutVars>
          <dgm:chPref val="3"/>
        </dgm:presLayoutVars>
      </dgm:prSet>
      <dgm:spPr/>
      <dgm:t>
        <a:bodyPr/>
        <a:lstStyle/>
        <a:p>
          <a:endParaRPr lang="en-GB"/>
        </a:p>
      </dgm:t>
    </dgm:pt>
    <dgm:pt modelId="{267C9922-0B84-4AEE-9817-7077676D94D7}" type="pres">
      <dgm:prSet presAssocID="{7741473B-E186-4580-BC20-E482C22F84BC}" presName="rootConnector" presStyleLbl="node3" presStyleIdx="4" presStyleCnt="27"/>
      <dgm:spPr/>
      <dgm:t>
        <a:bodyPr/>
        <a:lstStyle/>
        <a:p>
          <a:endParaRPr lang="en-GB"/>
        </a:p>
      </dgm:t>
    </dgm:pt>
    <dgm:pt modelId="{99A7B307-B6C1-45CF-A195-50D3AFA0DFD9}" type="pres">
      <dgm:prSet presAssocID="{7741473B-E186-4580-BC20-E482C22F84BC}" presName="hierChild4" presStyleCnt="0"/>
      <dgm:spPr/>
    </dgm:pt>
    <dgm:pt modelId="{89B5850F-0E35-45C4-8339-C0B5560752D2}" type="pres">
      <dgm:prSet presAssocID="{7741473B-E186-4580-BC20-E482C22F84BC}" presName="hierChild5" presStyleCnt="0"/>
      <dgm:spPr/>
    </dgm:pt>
    <dgm:pt modelId="{EB7A51C9-2A3B-4023-940F-7A577F808009}" type="pres">
      <dgm:prSet presAssocID="{E6B68188-F1B4-4DE3-B26E-C5597DBA8B4B}" presName="Name37" presStyleLbl="parChTrans1D3" presStyleIdx="5" presStyleCnt="27"/>
      <dgm:spPr/>
      <dgm:t>
        <a:bodyPr/>
        <a:lstStyle/>
        <a:p>
          <a:endParaRPr lang="en-GB"/>
        </a:p>
      </dgm:t>
    </dgm:pt>
    <dgm:pt modelId="{246507F2-0C22-4B24-A251-2A3228A61CE7}" type="pres">
      <dgm:prSet presAssocID="{AC209003-8BA6-44DF-A8F6-9D2C5C73FF0B}" presName="hierRoot2" presStyleCnt="0">
        <dgm:presLayoutVars>
          <dgm:hierBranch val="init"/>
        </dgm:presLayoutVars>
      </dgm:prSet>
      <dgm:spPr/>
    </dgm:pt>
    <dgm:pt modelId="{D77675F7-B28C-4D4B-84E1-B4DD449ADF02}" type="pres">
      <dgm:prSet presAssocID="{AC209003-8BA6-44DF-A8F6-9D2C5C73FF0B}" presName="rootComposite" presStyleCnt="0"/>
      <dgm:spPr/>
    </dgm:pt>
    <dgm:pt modelId="{4C1F4693-C8EA-4D49-A3D3-8D6D9A6A79CE}" type="pres">
      <dgm:prSet presAssocID="{AC209003-8BA6-44DF-A8F6-9D2C5C73FF0B}" presName="rootText" presStyleLbl="node3" presStyleIdx="5" presStyleCnt="27" custScaleX="428507" custScaleY="243573" custLinFactNeighborX="-94473" custLinFactNeighborY="-69130">
        <dgm:presLayoutVars>
          <dgm:chPref val="3"/>
        </dgm:presLayoutVars>
      </dgm:prSet>
      <dgm:spPr/>
      <dgm:t>
        <a:bodyPr/>
        <a:lstStyle/>
        <a:p>
          <a:endParaRPr lang="en-GB"/>
        </a:p>
      </dgm:t>
    </dgm:pt>
    <dgm:pt modelId="{6FCF4D04-EFDA-413E-8BA0-F4AD778E5115}" type="pres">
      <dgm:prSet presAssocID="{AC209003-8BA6-44DF-A8F6-9D2C5C73FF0B}" presName="rootConnector" presStyleLbl="node3" presStyleIdx="5" presStyleCnt="27"/>
      <dgm:spPr/>
      <dgm:t>
        <a:bodyPr/>
        <a:lstStyle/>
        <a:p>
          <a:endParaRPr lang="en-GB"/>
        </a:p>
      </dgm:t>
    </dgm:pt>
    <dgm:pt modelId="{A0FB8380-7C63-4614-AC2A-5B0EBE61DAFD}" type="pres">
      <dgm:prSet presAssocID="{AC209003-8BA6-44DF-A8F6-9D2C5C73FF0B}" presName="hierChild4" presStyleCnt="0"/>
      <dgm:spPr/>
    </dgm:pt>
    <dgm:pt modelId="{CAB8D789-09E7-436B-8A7E-FA0CCF8BC7DA}" type="pres">
      <dgm:prSet presAssocID="{AC209003-8BA6-44DF-A8F6-9D2C5C73FF0B}" presName="hierChild5" presStyleCnt="0"/>
      <dgm:spPr/>
    </dgm:pt>
    <dgm:pt modelId="{CDD23DDC-118A-4A96-B6A6-9F156A5E2A9D}" type="pres">
      <dgm:prSet presAssocID="{3FA8E52E-41A8-4B79-88F3-ABDEBF17CD17}" presName="hierChild5" presStyleCnt="0"/>
      <dgm:spPr/>
    </dgm:pt>
    <dgm:pt modelId="{16194040-5E60-434D-BF92-83FD3BBE53B9}" type="pres">
      <dgm:prSet presAssocID="{C86C1488-BD31-4F23-97DB-7C2B89FF3AD9}" presName="Name37" presStyleLbl="parChTrans1D2" presStyleIdx="1" presStyleCnt="4"/>
      <dgm:spPr/>
      <dgm:t>
        <a:bodyPr/>
        <a:lstStyle/>
        <a:p>
          <a:endParaRPr lang="en-GB"/>
        </a:p>
      </dgm:t>
    </dgm:pt>
    <dgm:pt modelId="{9737D7A7-63F3-48BF-9933-04C5C8E1822C}" type="pres">
      <dgm:prSet presAssocID="{C210B5A7-FC8F-4CFB-888B-78A66105B5E3}" presName="hierRoot2" presStyleCnt="0">
        <dgm:presLayoutVars>
          <dgm:hierBranch val="init"/>
        </dgm:presLayoutVars>
      </dgm:prSet>
      <dgm:spPr/>
    </dgm:pt>
    <dgm:pt modelId="{A972BEBF-FC6A-4D64-AD40-05A77994A454}" type="pres">
      <dgm:prSet presAssocID="{C210B5A7-FC8F-4CFB-888B-78A66105B5E3}" presName="rootComposite" presStyleCnt="0"/>
      <dgm:spPr/>
    </dgm:pt>
    <dgm:pt modelId="{C633A689-B769-440B-A61E-472B58BC51D4}" type="pres">
      <dgm:prSet presAssocID="{C210B5A7-FC8F-4CFB-888B-78A66105B5E3}" presName="rootText" presStyleLbl="node2" presStyleIdx="1" presStyleCnt="4" custScaleX="489722" custScaleY="161051" custLinFactNeighborX="-3390" custLinFactNeighborY="-27919">
        <dgm:presLayoutVars>
          <dgm:chPref val="3"/>
        </dgm:presLayoutVars>
      </dgm:prSet>
      <dgm:spPr/>
      <dgm:t>
        <a:bodyPr/>
        <a:lstStyle/>
        <a:p>
          <a:endParaRPr lang="en-GB"/>
        </a:p>
      </dgm:t>
    </dgm:pt>
    <dgm:pt modelId="{BBF4301C-272D-4A88-904A-92188D17DA3C}" type="pres">
      <dgm:prSet presAssocID="{C210B5A7-FC8F-4CFB-888B-78A66105B5E3}" presName="rootConnector" presStyleLbl="node2" presStyleIdx="1" presStyleCnt="4"/>
      <dgm:spPr/>
      <dgm:t>
        <a:bodyPr/>
        <a:lstStyle/>
        <a:p>
          <a:endParaRPr lang="en-GB"/>
        </a:p>
      </dgm:t>
    </dgm:pt>
    <dgm:pt modelId="{D9FC4B45-3F3E-44FD-BCD4-EE579804DF83}" type="pres">
      <dgm:prSet presAssocID="{C210B5A7-FC8F-4CFB-888B-78A66105B5E3}" presName="hierChild4" presStyleCnt="0"/>
      <dgm:spPr/>
    </dgm:pt>
    <dgm:pt modelId="{C981F861-5079-4644-BDF7-785B038AC3AD}" type="pres">
      <dgm:prSet presAssocID="{FF33382B-89C8-4B25-8169-CD7550BE112E}" presName="Name37" presStyleLbl="parChTrans1D3" presStyleIdx="6" presStyleCnt="27"/>
      <dgm:spPr/>
      <dgm:t>
        <a:bodyPr/>
        <a:lstStyle/>
        <a:p>
          <a:endParaRPr lang="en-GB"/>
        </a:p>
      </dgm:t>
    </dgm:pt>
    <dgm:pt modelId="{BEBCB5B0-E952-4A7B-B366-2BD915D026FA}" type="pres">
      <dgm:prSet presAssocID="{8258131A-64F0-468E-89FA-30CD74677209}" presName="hierRoot2" presStyleCnt="0">
        <dgm:presLayoutVars>
          <dgm:hierBranch val="init"/>
        </dgm:presLayoutVars>
      </dgm:prSet>
      <dgm:spPr/>
    </dgm:pt>
    <dgm:pt modelId="{45EF025C-4C3D-4E6F-84F2-3559FBE2A839}" type="pres">
      <dgm:prSet presAssocID="{8258131A-64F0-468E-89FA-30CD74677209}" presName="rootComposite" presStyleCnt="0"/>
      <dgm:spPr/>
    </dgm:pt>
    <dgm:pt modelId="{C52F6E7A-06EB-4ED7-9448-A059B6929A94}" type="pres">
      <dgm:prSet presAssocID="{8258131A-64F0-468E-89FA-30CD74677209}" presName="rootText" presStyleLbl="node3" presStyleIdx="6" presStyleCnt="27" custScaleX="489722" custScaleY="133100" custLinFactX="-25585" custLinFactNeighborX="-100000" custLinFactNeighborY="-53788">
        <dgm:presLayoutVars>
          <dgm:chPref val="3"/>
        </dgm:presLayoutVars>
      </dgm:prSet>
      <dgm:spPr/>
      <dgm:t>
        <a:bodyPr/>
        <a:lstStyle/>
        <a:p>
          <a:endParaRPr lang="en-GB"/>
        </a:p>
      </dgm:t>
    </dgm:pt>
    <dgm:pt modelId="{A0C33D3F-A411-47FC-90AA-856B0B304567}" type="pres">
      <dgm:prSet presAssocID="{8258131A-64F0-468E-89FA-30CD74677209}" presName="rootConnector" presStyleLbl="node3" presStyleIdx="6" presStyleCnt="27"/>
      <dgm:spPr/>
      <dgm:t>
        <a:bodyPr/>
        <a:lstStyle/>
        <a:p>
          <a:endParaRPr lang="en-GB"/>
        </a:p>
      </dgm:t>
    </dgm:pt>
    <dgm:pt modelId="{A7254F57-CE6A-451A-8333-3E530B873865}" type="pres">
      <dgm:prSet presAssocID="{8258131A-64F0-468E-89FA-30CD74677209}" presName="hierChild4" presStyleCnt="0"/>
      <dgm:spPr/>
    </dgm:pt>
    <dgm:pt modelId="{C4BDD475-7121-4C22-874C-C1A929C08BF4}" type="pres">
      <dgm:prSet presAssocID="{8258131A-64F0-468E-89FA-30CD74677209}" presName="hierChild5" presStyleCnt="0"/>
      <dgm:spPr/>
    </dgm:pt>
    <dgm:pt modelId="{DE8D8668-96E8-4FBC-8F48-E04927E8AF75}" type="pres">
      <dgm:prSet presAssocID="{FD01D34D-5E0D-46CB-A169-082DA7DAD974}" presName="Name37" presStyleLbl="parChTrans1D3" presStyleIdx="7" presStyleCnt="27"/>
      <dgm:spPr/>
      <dgm:t>
        <a:bodyPr/>
        <a:lstStyle/>
        <a:p>
          <a:endParaRPr lang="en-GB"/>
        </a:p>
      </dgm:t>
    </dgm:pt>
    <dgm:pt modelId="{88FB0867-D1E0-45B1-BB04-D32B49A053A3}" type="pres">
      <dgm:prSet presAssocID="{DB7FB121-89FA-4FDA-BA06-6EB92D692684}" presName="hierRoot2" presStyleCnt="0">
        <dgm:presLayoutVars>
          <dgm:hierBranch val="init"/>
        </dgm:presLayoutVars>
      </dgm:prSet>
      <dgm:spPr/>
    </dgm:pt>
    <dgm:pt modelId="{BFD5BFA4-C2BA-484A-BD28-7C2D992780AE}" type="pres">
      <dgm:prSet presAssocID="{DB7FB121-89FA-4FDA-BA06-6EB92D692684}" presName="rootComposite" presStyleCnt="0"/>
      <dgm:spPr/>
    </dgm:pt>
    <dgm:pt modelId="{FA874DA8-4D76-40E4-B03F-68097D2BD076}" type="pres">
      <dgm:prSet presAssocID="{DB7FB121-89FA-4FDA-BA06-6EB92D692684}" presName="rootText" presStyleLbl="node3" presStyleIdx="7" presStyleCnt="27" custScaleX="489722" custScaleY="133196" custLinFactX="-23495" custLinFactNeighborX="-100000" custLinFactNeighborY="-79856">
        <dgm:presLayoutVars>
          <dgm:chPref val="3"/>
        </dgm:presLayoutVars>
      </dgm:prSet>
      <dgm:spPr/>
      <dgm:t>
        <a:bodyPr/>
        <a:lstStyle/>
        <a:p>
          <a:endParaRPr lang="en-GB"/>
        </a:p>
      </dgm:t>
    </dgm:pt>
    <dgm:pt modelId="{F613A01D-7200-4858-BD85-9D67C40E7C98}" type="pres">
      <dgm:prSet presAssocID="{DB7FB121-89FA-4FDA-BA06-6EB92D692684}" presName="rootConnector" presStyleLbl="node3" presStyleIdx="7" presStyleCnt="27"/>
      <dgm:spPr/>
      <dgm:t>
        <a:bodyPr/>
        <a:lstStyle/>
        <a:p>
          <a:endParaRPr lang="en-GB"/>
        </a:p>
      </dgm:t>
    </dgm:pt>
    <dgm:pt modelId="{D17AC95D-A425-4D2A-BCE1-F8871780ECC2}" type="pres">
      <dgm:prSet presAssocID="{DB7FB121-89FA-4FDA-BA06-6EB92D692684}" presName="hierChild4" presStyleCnt="0"/>
      <dgm:spPr/>
    </dgm:pt>
    <dgm:pt modelId="{26B3467B-C8EA-4D03-9045-021F1A08FBFD}" type="pres">
      <dgm:prSet presAssocID="{DB7FB121-89FA-4FDA-BA06-6EB92D692684}" presName="hierChild5" presStyleCnt="0"/>
      <dgm:spPr/>
    </dgm:pt>
    <dgm:pt modelId="{DF2A5BDB-731B-4743-8645-30CC461A515D}" type="pres">
      <dgm:prSet presAssocID="{4D12AA29-479B-49C6-9FF2-D77C0C9C8CC6}" presName="Name37" presStyleLbl="parChTrans1D3" presStyleIdx="8" presStyleCnt="27"/>
      <dgm:spPr/>
      <dgm:t>
        <a:bodyPr/>
        <a:lstStyle/>
        <a:p>
          <a:endParaRPr lang="en-GB"/>
        </a:p>
      </dgm:t>
    </dgm:pt>
    <dgm:pt modelId="{F222851E-2C4A-438E-84CC-EEBEF9673ED1}" type="pres">
      <dgm:prSet presAssocID="{7520F216-6A93-4900-B03B-1CAE7FDB300B}" presName="hierRoot2" presStyleCnt="0">
        <dgm:presLayoutVars>
          <dgm:hierBranch val="init"/>
        </dgm:presLayoutVars>
      </dgm:prSet>
      <dgm:spPr/>
    </dgm:pt>
    <dgm:pt modelId="{2FA5E372-4952-48CE-9BF7-15A2B7F76045}" type="pres">
      <dgm:prSet presAssocID="{7520F216-6A93-4900-B03B-1CAE7FDB300B}" presName="rootComposite" presStyleCnt="0"/>
      <dgm:spPr/>
    </dgm:pt>
    <dgm:pt modelId="{04410A4D-7DCC-4946-8471-DFD4EE5F71CD}" type="pres">
      <dgm:prSet presAssocID="{7520F216-6A93-4900-B03B-1CAE7FDB300B}" presName="rootText" presStyleLbl="node3" presStyleIdx="8" presStyleCnt="27" custScaleX="489722" custScaleY="156767" custLinFactX="-23495" custLinFactY="-9234" custLinFactNeighborX="-100000" custLinFactNeighborY="-100000">
        <dgm:presLayoutVars>
          <dgm:chPref val="3"/>
        </dgm:presLayoutVars>
      </dgm:prSet>
      <dgm:spPr/>
      <dgm:t>
        <a:bodyPr/>
        <a:lstStyle/>
        <a:p>
          <a:endParaRPr lang="en-GB"/>
        </a:p>
      </dgm:t>
    </dgm:pt>
    <dgm:pt modelId="{9D907A16-BA97-49F7-A8E0-04EB9E2BF3A6}" type="pres">
      <dgm:prSet presAssocID="{7520F216-6A93-4900-B03B-1CAE7FDB300B}" presName="rootConnector" presStyleLbl="node3" presStyleIdx="8" presStyleCnt="27"/>
      <dgm:spPr/>
      <dgm:t>
        <a:bodyPr/>
        <a:lstStyle/>
        <a:p>
          <a:endParaRPr lang="en-GB"/>
        </a:p>
      </dgm:t>
    </dgm:pt>
    <dgm:pt modelId="{A90F16CA-A95E-41A3-B02F-4344A4FB0D74}" type="pres">
      <dgm:prSet presAssocID="{7520F216-6A93-4900-B03B-1CAE7FDB300B}" presName="hierChild4" presStyleCnt="0"/>
      <dgm:spPr/>
    </dgm:pt>
    <dgm:pt modelId="{C4475F51-E6C7-4F33-810C-B97B00BA8D02}" type="pres">
      <dgm:prSet presAssocID="{7520F216-6A93-4900-B03B-1CAE7FDB300B}" presName="hierChild5" presStyleCnt="0"/>
      <dgm:spPr/>
    </dgm:pt>
    <dgm:pt modelId="{B743BF5E-8E74-4AA4-AF77-FEB591727596}" type="pres">
      <dgm:prSet presAssocID="{9E6D193C-AE2E-4C60-B40E-8A836963A6ED}" presName="Name37" presStyleLbl="parChTrans1D3" presStyleIdx="9" presStyleCnt="27"/>
      <dgm:spPr/>
      <dgm:t>
        <a:bodyPr/>
        <a:lstStyle/>
        <a:p>
          <a:endParaRPr lang="en-GB"/>
        </a:p>
      </dgm:t>
    </dgm:pt>
    <dgm:pt modelId="{CD5184F5-D5F6-46CC-97B3-EBCFD5902623}" type="pres">
      <dgm:prSet presAssocID="{D6F17EA9-E082-43E6-9D65-85C43DB9E61E}" presName="hierRoot2" presStyleCnt="0">
        <dgm:presLayoutVars>
          <dgm:hierBranch val="init"/>
        </dgm:presLayoutVars>
      </dgm:prSet>
      <dgm:spPr/>
    </dgm:pt>
    <dgm:pt modelId="{C56F44D4-5F14-493A-BE16-DF4F2EFE43BF}" type="pres">
      <dgm:prSet presAssocID="{D6F17EA9-E082-43E6-9D65-85C43DB9E61E}" presName="rootComposite" presStyleCnt="0"/>
      <dgm:spPr/>
    </dgm:pt>
    <dgm:pt modelId="{0E40AEC0-2671-423A-8A47-DC6E1E2C8277}" type="pres">
      <dgm:prSet presAssocID="{D6F17EA9-E082-43E6-9D65-85C43DB9E61E}" presName="rootText" presStyleLbl="node3" presStyleIdx="9" presStyleCnt="27" custScaleX="489722" custScaleY="212756" custLinFactX="-23495" custLinFactY="-32625" custLinFactNeighborX="-100000" custLinFactNeighborY="-100000">
        <dgm:presLayoutVars>
          <dgm:chPref val="3"/>
        </dgm:presLayoutVars>
      </dgm:prSet>
      <dgm:spPr/>
      <dgm:t>
        <a:bodyPr/>
        <a:lstStyle/>
        <a:p>
          <a:endParaRPr lang="en-GB"/>
        </a:p>
      </dgm:t>
    </dgm:pt>
    <dgm:pt modelId="{0415C0B4-BF22-4E0A-9719-027F6097DCDD}" type="pres">
      <dgm:prSet presAssocID="{D6F17EA9-E082-43E6-9D65-85C43DB9E61E}" presName="rootConnector" presStyleLbl="node3" presStyleIdx="9" presStyleCnt="27"/>
      <dgm:spPr/>
      <dgm:t>
        <a:bodyPr/>
        <a:lstStyle/>
        <a:p>
          <a:endParaRPr lang="en-GB"/>
        </a:p>
      </dgm:t>
    </dgm:pt>
    <dgm:pt modelId="{0C0E6B72-C126-415D-880A-22C7AC233C4C}" type="pres">
      <dgm:prSet presAssocID="{D6F17EA9-E082-43E6-9D65-85C43DB9E61E}" presName="hierChild4" presStyleCnt="0"/>
      <dgm:spPr/>
    </dgm:pt>
    <dgm:pt modelId="{614B6606-92CC-4D97-B498-7B815EFFBAE7}" type="pres">
      <dgm:prSet presAssocID="{D6F17EA9-E082-43E6-9D65-85C43DB9E61E}" presName="hierChild5" presStyleCnt="0"/>
      <dgm:spPr/>
    </dgm:pt>
    <dgm:pt modelId="{6B9BB72C-C16E-4812-A426-8736B0F4D50D}" type="pres">
      <dgm:prSet presAssocID="{68FB7B31-DBFA-4E20-A5A9-242EBD808708}" presName="Name37" presStyleLbl="parChTrans1D3" presStyleIdx="10" presStyleCnt="27"/>
      <dgm:spPr/>
      <dgm:t>
        <a:bodyPr/>
        <a:lstStyle/>
        <a:p>
          <a:endParaRPr lang="en-GB"/>
        </a:p>
      </dgm:t>
    </dgm:pt>
    <dgm:pt modelId="{F96F047D-A9FC-4FF5-A8C1-941933C779B4}" type="pres">
      <dgm:prSet presAssocID="{A67701C2-2154-49A9-AEE7-642B0F6E0EDA}" presName="hierRoot2" presStyleCnt="0">
        <dgm:presLayoutVars>
          <dgm:hierBranch val="init"/>
        </dgm:presLayoutVars>
      </dgm:prSet>
      <dgm:spPr/>
    </dgm:pt>
    <dgm:pt modelId="{045801E2-3B02-4A8F-9585-6867B7DD31BC}" type="pres">
      <dgm:prSet presAssocID="{A67701C2-2154-49A9-AEE7-642B0F6E0EDA}" presName="rootComposite" presStyleCnt="0"/>
      <dgm:spPr/>
    </dgm:pt>
    <dgm:pt modelId="{EA59485D-2E2F-42CB-B81B-A0E1E3EA3A1C}" type="pres">
      <dgm:prSet presAssocID="{A67701C2-2154-49A9-AEE7-642B0F6E0EDA}" presName="rootText" presStyleLbl="node3" presStyleIdx="10" presStyleCnt="27" custScaleX="489722" custScaleY="133196" custLinFactX="-23495" custLinFactY="-57263" custLinFactNeighborX="-100000" custLinFactNeighborY="-100000">
        <dgm:presLayoutVars>
          <dgm:chPref val="3"/>
        </dgm:presLayoutVars>
      </dgm:prSet>
      <dgm:spPr/>
      <dgm:t>
        <a:bodyPr/>
        <a:lstStyle/>
        <a:p>
          <a:endParaRPr lang="en-GB"/>
        </a:p>
      </dgm:t>
    </dgm:pt>
    <dgm:pt modelId="{3C113E1E-FE54-4128-B244-37B8276C710C}" type="pres">
      <dgm:prSet presAssocID="{A67701C2-2154-49A9-AEE7-642B0F6E0EDA}" presName="rootConnector" presStyleLbl="node3" presStyleIdx="10" presStyleCnt="27"/>
      <dgm:spPr/>
      <dgm:t>
        <a:bodyPr/>
        <a:lstStyle/>
        <a:p>
          <a:endParaRPr lang="en-GB"/>
        </a:p>
      </dgm:t>
    </dgm:pt>
    <dgm:pt modelId="{94918608-EE8D-46B0-BBEE-532A885864C4}" type="pres">
      <dgm:prSet presAssocID="{A67701C2-2154-49A9-AEE7-642B0F6E0EDA}" presName="hierChild4" presStyleCnt="0"/>
      <dgm:spPr/>
    </dgm:pt>
    <dgm:pt modelId="{0351236A-BFB1-48C2-9E8E-AB3FA5B6820D}" type="pres">
      <dgm:prSet presAssocID="{A67701C2-2154-49A9-AEE7-642B0F6E0EDA}" presName="hierChild5" presStyleCnt="0"/>
      <dgm:spPr/>
    </dgm:pt>
    <dgm:pt modelId="{36BF8A7A-9D89-41C0-8B99-0645BE0B5C9B}" type="pres">
      <dgm:prSet presAssocID="{84939823-9C1A-4A52-8238-B36504B8A531}" presName="Name37" presStyleLbl="parChTrans1D3" presStyleIdx="11" presStyleCnt="27"/>
      <dgm:spPr/>
      <dgm:t>
        <a:bodyPr/>
        <a:lstStyle/>
        <a:p>
          <a:endParaRPr lang="en-GB"/>
        </a:p>
      </dgm:t>
    </dgm:pt>
    <dgm:pt modelId="{38485F78-C0C3-43BA-9E36-BF58157B13ED}" type="pres">
      <dgm:prSet presAssocID="{AD9B6B29-76D5-426B-93B6-5BFE62AB229B}" presName="hierRoot2" presStyleCnt="0">
        <dgm:presLayoutVars>
          <dgm:hierBranch val="init"/>
        </dgm:presLayoutVars>
      </dgm:prSet>
      <dgm:spPr/>
    </dgm:pt>
    <dgm:pt modelId="{7D166BD7-9271-4007-8979-6A6AC379B8BB}" type="pres">
      <dgm:prSet presAssocID="{AD9B6B29-76D5-426B-93B6-5BFE62AB229B}" presName="rootComposite" presStyleCnt="0"/>
      <dgm:spPr/>
    </dgm:pt>
    <dgm:pt modelId="{69577400-3728-444D-96E5-E59C84094316}" type="pres">
      <dgm:prSet presAssocID="{AD9B6B29-76D5-426B-93B6-5BFE62AB229B}" presName="rootText" presStyleLbl="node3" presStyleIdx="11" presStyleCnt="27" custScaleX="489722" custScaleY="133196" custLinFactX="-23495" custLinFactY="-83046" custLinFactNeighborX="-100000" custLinFactNeighborY="-100000">
        <dgm:presLayoutVars>
          <dgm:chPref val="3"/>
        </dgm:presLayoutVars>
      </dgm:prSet>
      <dgm:spPr/>
      <dgm:t>
        <a:bodyPr/>
        <a:lstStyle/>
        <a:p>
          <a:endParaRPr lang="en-GB"/>
        </a:p>
      </dgm:t>
    </dgm:pt>
    <dgm:pt modelId="{BAABFAAE-EC69-4E1F-B78D-D84BCDA0D6AD}" type="pres">
      <dgm:prSet presAssocID="{AD9B6B29-76D5-426B-93B6-5BFE62AB229B}" presName="rootConnector" presStyleLbl="node3" presStyleIdx="11" presStyleCnt="27"/>
      <dgm:spPr/>
      <dgm:t>
        <a:bodyPr/>
        <a:lstStyle/>
        <a:p>
          <a:endParaRPr lang="en-GB"/>
        </a:p>
      </dgm:t>
    </dgm:pt>
    <dgm:pt modelId="{BAF3FA39-621A-4DE6-9C1B-81F51A563D85}" type="pres">
      <dgm:prSet presAssocID="{AD9B6B29-76D5-426B-93B6-5BFE62AB229B}" presName="hierChild4" presStyleCnt="0"/>
      <dgm:spPr/>
    </dgm:pt>
    <dgm:pt modelId="{B2F783A7-FEDE-4B91-A083-2D03DD6B5A32}" type="pres">
      <dgm:prSet presAssocID="{AD9B6B29-76D5-426B-93B6-5BFE62AB229B}" presName="hierChild5" presStyleCnt="0"/>
      <dgm:spPr/>
    </dgm:pt>
    <dgm:pt modelId="{EDD6B248-4CEB-4654-9033-ED2BD107A221}" type="pres">
      <dgm:prSet presAssocID="{53973304-1394-4263-9745-1D093A3A9643}" presName="Name37" presStyleLbl="parChTrans1D3" presStyleIdx="12" presStyleCnt="27"/>
      <dgm:spPr/>
      <dgm:t>
        <a:bodyPr/>
        <a:lstStyle/>
        <a:p>
          <a:endParaRPr lang="en-GB"/>
        </a:p>
      </dgm:t>
    </dgm:pt>
    <dgm:pt modelId="{F59716A7-2858-4185-A535-D6A46C708F35}" type="pres">
      <dgm:prSet presAssocID="{6FFB1031-0A73-4469-BCC7-5B3640D26945}" presName="hierRoot2" presStyleCnt="0">
        <dgm:presLayoutVars>
          <dgm:hierBranch val="init"/>
        </dgm:presLayoutVars>
      </dgm:prSet>
      <dgm:spPr/>
    </dgm:pt>
    <dgm:pt modelId="{3D357C93-C264-4972-9671-30636AA2D4E6}" type="pres">
      <dgm:prSet presAssocID="{6FFB1031-0A73-4469-BCC7-5B3640D26945}" presName="rootComposite" presStyleCnt="0"/>
      <dgm:spPr/>
    </dgm:pt>
    <dgm:pt modelId="{830D38BF-6282-47C5-BAC0-DF00893C467F}" type="pres">
      <dgm:prSet presAssocID="{6FFB1031-0A73-4469-BCC7-5B3640D26945}" presName="rootText" presStyleLbl="node3" presStyleIdx="12" presStyleCnt="27" custScaleX="489722" custScaleY="133196" custLinFactX="-23926" custLinFactY="-100000" custLinFactNeighborX="-100000" custLinFactNeighborY="-107443">
        <dgm:presLayoutVars>
          <dgm:chPref val="3"/>
        </dgm:presLayoutVars>
      </dgm:prSet>
      <dgm:spPr/>
      <dgm:t>
        <a:bodyPr/>
        <a:lstStyle/>
        <a:p>
          <a:endParaRPr lang="en-GB"/>
        </a:p>
      </dgm:t>
    </dgm:pt>
    <dgm:pt modelId="{50DD9E39-4F50-40C5-BD65-39D9CA175641}" type="pres">
      <dgm:prSet presAssocID="{6FFB1031-0A73-4469-BCC7-5B3640D26945}" presName="rootConnector" presStyleLbl="node3" presStyleIdx="12" presStyleCnt="27"/>
      <dgm:spPr/>
      <dgm:t>
        <a:bodyPr/>
        <a:lstStyle/>
        <a:p>
          <a:endParaRPr lang="en-GB"/>
        </a:p>
      </dgm:t>
    </dgm:pt>
    <dgm:pt modelId="{0CC16348-B4E0-4B13-985D-E52B186059EA}" type="pres">
      <dgm:prSet presAssocID="{6FFB1031-0A73-4469-BCC7-5B3640D26945}" presName="hierChild4" presStyleCnt="0"/>
      <dgm:spPr/>
    </dgm:pt>
    <dgm:pt modelId="{1D324484-253B-48C3-8F38-36D2065AE951}" type="pres">
      <dgm:prSet presAssocID="{6FFB1031-0A73-4469-BCC7-5B3640D26945}" presName="hierChild5" presStyleCnt="0"/>
      <dgm:spPr/>
    </dgm:pt>
    <dgm:pt modelId="{5FAD3576-45D6-41B4-8CB0-E188125E4354}" type="pres">
      <dgm:prSet presAssocID="{64F965F4-0063-4154-85F6-3E001459EE1E}" presName="Name37" presStyleLbl="parChTrans1D3" presStyleIdx="13" presStyleCnt="27"/>
      <dgm:spPr/>
      <dgm:t>
        <a:bodyPr/>
        <a:lstStyle/>
        <a:p>
          <a:endParaRPr lang="en-GB"/>
        </a:p>
      </dgm:t>
    </dgm:pt>
    <dgm:pt modelId="{FD64AC5D-3B06-4EF8-93BA-4CCDB222F53A}" type="pres">
      <dgm:prSet presAssocID="{772FF846-B977-4229-8998-FD334892F6D6}" presName="hierRoot2" presStyleCnt="0">
        <dgm:presLayoutVars>
          <dgm:hierBranch val="init"/>
        </dgm:presLayoutVars>
      </dgm:prSet>
      <dgm:spPr/>
    </dgm:pt>
    <dgm:pt modelId="{DC936B57-C0BC-40EC-9903-C1566FD66FA2}" type="pres">
      <dgm:prSet presAssocID="{772FF846-B977-4229-8998-FD334892F6D6}" presName="rootComposite" presStyleCnt="0"/>
      <dgm:spPr/>
    </dgm:pt>
    <dgm:pt modelId="{FCD4C20C-521F-4545-939A-8A7799913E93}" type="pres">
      <dgm:prSet presAssocID="{772FF846-B977-4229-8998-FD334892F6D6}" presName="rootText" presStyleLbl="node3" presStyleIdx="13" presStyleCnt="27" custScaleX="489722" custScaleY="121198" custLinFactX="-21534" custLinFactY="-100000" custLinFactNeighborX="-100000" custLinFactNeighborY="-131369">
        <dgm:presLayoutVars>
          <dgm:chPref val="3"/>
        </dgm:presLayoutVars>
      </dgm:prSet>
      <dgm:spPr/>
      <dgm:t>
        <a:bodyPr/>
        <a:lstStyle/>
        <a:p>
          <a:endParaRPr lang="en-GB"/>
        </a:p>
      </dgm:t>
    </dgm:pt>
    <dgm:pt modelId="{7095D4F8-1C8A-4F9A-9B63-236944966ED1}" type="pres">
      <dgm:prSet presAssocID="{772FF846-B977-4229-8998-FD334892F6D6}" presName="rootConnector" presStyleLbl="node3" presStyleIdx="13" presStyleCnt="27"/>
      <dgm:spPr/>
      <dgm:t>
        <a:bodyPr/>
        <a:lstStyle/>
        <a:p>
          <a:endParaRPr lang="en-GB"/>
        </a:p>
      </dgm:t>
    </dgm:pt>
    <dgm:pt modelId="{314F22F5-9ABF-4039-8D7C-8B5A5E7D7EC7}" type="pres">
      <dgm:prSet presAssocID="{772FF846-B977-4229-8998-FD334892F6D6}" presName="hierChild4" presStyleCnt="0"/>
      <dgm:spPr/>
    </dgm:pt>
    <dgm:pt modelId="{07DB01D3-0ECB-4E38-AAD6-577396565579}" type="pres">
      <dgm:prSet presAssocID="{772FF846-B977-4229-8998-FD334892F6D6}" presName="hierChild5" presStyleCnt="0"/>
      <dgm:spPr/>
    </dgm:pt>
    <dgm:pt modelId="{C18432C2-F5A3-442A-9977-38AEE04F13DD}" type="pres">
      <dgm:prSet presAssocID="{128CD2A8-559B-42A1-B1A9-0396AC1A0AFE}" presName="Name37" presStyleLbl="parChTrans1D3" presStyleIdx="14" presStyleCnt="27"/>
      <dgm:spPr/>
      <dgm:t>
        <a:bodyPr/>
        <a:lstStyle/>
        <a:p>
          <a:endParaRPr lang="en-GB"/>
        </a:p>
      </dgm:t>
    </dgm:pt>
    <dgm:pt modelId="{6AE34D16-582D-406C-9420-799CC7F5A7AE}" type="pres">
      <dgm:prSet presAssocID="{DE6CB324-04C8-4039-A4A1-2D784450FD41}" presName="hierRoot2" presStyleCnt="0">
        <dgm:presLayoutVars>
          <dgm:hierBranch val="init"/>
        </dgm:presLayoutVars>
      </dgm:prSet>
      <dgm:spPr/>
    </dgm:pt>
    <dgm:pt modelId="{54DDDA25-6982-44A6-A3A4-FD7DD827E08C}" type="pres">
      <dgm:prSet presAssocID="{DE6CB324-04C8-4039-A4A1-2D784450FD41}" presName="rootComposite" presStyleCnt="0"/>
      <dgm:spPr/>
    </dgm:pt>
    <dgm:pt modelId="{B831C22F-984D-4917-BB77-DA19C75E8EEC}" type="pres">
      <dgm:prSet presAssocID="{DE6CB324-04C8-4039-A4A1-2D784450FD41}" presName="rootText" presStyleLbl="node3" presStyleIdx="14" presStyleCnt="27" custScaleX="489722" custScaleY="149596" custLinFactX="-19125" custLinFactY="-100000" custLinFactNeighborX="-100000" custLinFactNeighborY="-155946">
        <dgm:presLayoutVars>
          <dgm:chPref val="3"/>
        </dgm:presLayoutVars>
      </dgm:prSet>
      <dgm:spPr/>
      <dgm:t>
        <a:bodyPr/>
        <a:lstStyle/>
        <a:p>
          <a:endParaRPr lang="en-GB"/>
        </a:p>
      </dgm:t>
    </dgm:pt>
    <dgm:pt modelId="{8315F59C-535C-41A3-9977-47ED97AB1D59}" type="pres">
      <dgm:prSet presAssocID="{DE6CB324-04C8-4039-A4A1-2D784450FD41}" presName="rootConnector" presStyleLbl="node3" presStyleIdx="14" presStyleCnt="27"/>
      <dgm:spPr/>
      <dgm:t>
        <a:bodyPr/>
        <a:lstStyle/>
        <a:p>
          <a:endParaRPr lang="en-GB"/>
        </a:p>
      </dgm:t>
    </dgm:pt>
    <dgm:pt modelId="{DDD0FE66-9AAF-4CF9-9EE4-075FBC445F44}" type="pres">
      <dgm:prSet presAssocID="{DE6CB324-04C8-4039-A4A1-2D784450FD41}" presName="hierChild4" presStyleCnt="0"/>
      <dgm:spPr/>
    </dgm:pt>
    <dgm:pt modelId="{46289894-ECFE-4885-B42C-38D755361C48}" type="pres">
      <dgm:prSet presAssocID="{DE6CB324-04C8-4039-A4A1-2D784450FD41}" presName="hierChild5" presStyleCnt="0"/>
      <dgm:spPr/>
    </dgm:pt>
    <dgm:pt modelId="{23EDB892-9EB4-4D68-BBE5-B200E79A66A9}" type="pres">
      <dgm:prSet presAssocID="{862E5178-4EA9-49DF-9E29-89AA5E3C5029}" presName="Name37" presStyleLbl="parChTrans1D3" presStyleIdx="15" presStyleCnt="27"/>
      <dgm:spPr/>
      <dgm:t>
        <a:bodyPr/>
        <a:lstStyle/>
        <a:p>
          <a:endParaRPr lang="en-GB"/>
        </a:p>
      </dgm:t>
    </dgm:pt>
    <dgm:pt modelId="{3018BE9B-499A-46FA-B678-0395BD203C40}" type="pres">
      <dgm:prSet presAssocID="{9EBBB895-7600-4C5C-AD2A-85DBB7813F37}" presName="hierRoot2" presStyleCnt="0">
        <dgm:presLayoutVars>
          <dgm:hierBranch val="init"/>
        </dgm:presLayoutVars>
      </dgm:prSet>
      <dgm:spPr/>
    </dgm:pt>
    <dgm:pt modelId="{77BAEB05-B0AE-43B7-8916-5ABA409AE86C}" type="pres">
      <dgm:prSet presAssocID="{9EBBB895-7600-4C5C-AD2A-85DBB7813F37}" presName="rootComposite" presStyleCnt="0"/>
      <dgm:spPr/>
    </dgm:pt>
    <dgm:pt modelId="{61FA1666-3CB0-4FB2-8C4B-E313F9D14383}" type="pres">
      <dgm:prSet presAssocID="{9EBBB895-7600-4C5C-AD2A-85DBB7813F37}" presName="rootText" presStyleLbl="node3" presStyleIdx="15" presStyleCnt="27" custScaleX="489722" custLinFactX="-22244" custLinFactY="-108170" custLinFactNeighborX="-100000" custLinFactNeighborY="-200000">
        <dgm:presLayoutVars>
          <dgm:chPref val="3"/>
        </dgm:presLayoutVars>
      </dgm:prSet>
      <dgm:spPr/>
      <dgm:t>
        <a:bodyPr/>
        <a:lstStyle/>
        <a:p>
          <a:endParaRPr lang="en-GB"/>
        </a:p>
      </dgm:t>
    </dgm:pt>
    <dgm:pt modelId="{14794923-454C-4188-8CA2-A3764EA77813}" type="pres">
      <dgm:prSet presAssocID="{9EBBB895-7600-4C5C-AD2A-85DBB7813F37}" presName="rootConnector" presStyleLbl="node3" presStyleIdx="15" presStyleCnt="27"/>
      <dgm:spPr/>
      <dgm:t>
        <a:bodyPr/>
        <a:lstStyle/>
        <a:p>
          <a:endParaRPr lang="en-GB"/>
        </a:p>
      </dgm:t>
    </dgm:pt>
    <dgm:pt modelId="{28C78716-BDA8-44DC-A378-37545D8133BD}" type="pres">
      <dgm:prSet presAssocID="{9EBBB895-7600-4C5C-AD2A-85DBB7813F37}" presName="hierChild4" presStyleCnt="0"/>
      <dgm:spPr/>
    </dgm:pt>
    <dgm:pt modelId="{4F154440-422F-4F9E-AF96-A0ACF29A387B}" type="pres">
      <dgm:prSet presAssocID="{9EBBB895-7600-4C5C-AD2A-85DBB7813F37}" presName="hierChild5" presStyleCnt="0"/>
      <dgm:spPr/>
    </dgm:pt>
    <dgm:pt modelId="{03DD41D6-FCC6-4D83-AEDC-06B212AA9FF6}" type="pres">
      <dgm:prSet presAssocID="{C210B5A7-FC8F-4CFB-888B-78A66105B5E3}" presName="hierChild5" presStyleCnt="0"/>
      <dgm:spPr/>
    </dgm:pt>
    <dgm:pt modelId="{748B4E46-BCEA-4B90-9F45-8240389CE2F0}" type="pres">
      <dgm:prSet presAssocID="{6FB800BF-C0D2-4431-90AD-DB6C6F916073}" presName="Name37" presStyleLbl="parChTrans1D2" presStyleIdx="2" presStyleCnt="4"/>
      <dgm:spPr/>
      <dgm:t>
        <a:bodyPr/>
        <a:lstStyle/>
        <a:p>
          <a:endParaRPr lang="en-GB"/>
        </a:p>
      </dgm:t>
    </dgm:pt>
    <dgm:pt modelId="{B68D8F3A-DC82-4FFE-B512-7099E3AEA713}" type="pres">
      <dgm:prSet presAssocID="{4A2B5A49-02C5-4CAF-B182-FD73BC39F0B6}" presName="hierRoot2" presStyleCnt="0">
        <dgm:presLayoutVars>
          <dgm:hierBranch val="init"/>
        </dgm:presLayoutVars>
      </dgm:prSet>
      <dgm:spPr/>
    </dgm:pt>
    <dgm:pt modelId="{5BC34B2E-9029-44CF-B05B-F90E38971D23}" type="pres">
      <dgm:prSet presAssocID="{4A2B5A49-02C5-4CAF-B182-FD73BC39F0B6}" presName="rootComposite" presStyleCnt="0"/>
      <dgm:spPr/>
    </dgm:pt>
    <dgm:pt modelId="{A1A7E265-6B33-4908-BF5C-D6CD576CE0F9}" type="pres">
      <dgm:prSet presAssocID="{4A2B5A49-02C5-4CAF-B182-FD73BC39F0B6}" presName="rootText" presStyleLbl="node2" presStyleIdx="2" presStyleCnt="4" custScaleX="489722" custScaleY="161051" custLinFactNeighborX="4799" custLinFactNeighborY="-25398">
        <dgm:presLayoutVars>
          <dgm:chPref val="3"/>
        </dgm:presLayoutVars>
      </dgm:prSet>
      <dgm:spPr/>
      <dgm:t>
        <a:bodyPr/>
        <a:lstStyle/>
        <a:p>
          <a:endParaRPr lang="en-GB"/>
        </a:p>
      </dgm:t>
    </dgm:pt>
    <dgm:pt modelId="{439D2B84-4BEE-4138-999D-519850687B31}" type="pres">
      <dgm:prSet presAssocID="{4A2B5A49-02C5-4CAF-B182-FD73BC39F0B6}" presName="rootConnector" presStyleLbl="node2" presStyleIdx="2" presStyleCnt="4"/>
      <dgm:spPr/>
      <dgm:t>
        <a:bodyPr/>
        <a:lstStyle/>
        <a:p>
          <a:endParaRPr lang="en-GB"/>
        </a:p>
      </dgm:t>
    </dgm:pt>
    <dgm:pt modelId="{D7D25BC5-EA56-4E39-91BA-6C064172B7DA}" type="pres">
      <dgm:prSet presAssocID="{4A2B5A49-02C5-4CAF-B182-FD73BC39F0B6}" presName="hierChild4" presStyleCnt="0"/>
      <dgm:spPr/>
    </dgm:pt>
    <dgm:pt modelId="{CA3AC0F8-D2DD-45A4-986D-8A7CA3FCA483}" type="pres">
      <dgm:prSet presAssocID="{0501E4C1-E7FE-472A-A140-201BB0837341}" presName="Name37" presStyleLbl="parChTrans1D3" presStyleIdx="16" presStyleCnt="27"/>
      <dgm:spPr/>
      <dgm:t>
        <a:bodyPr/>
        <a:lstStyle/>
        <a:p>
          <a:endParaRPr lang="en-GB"/>
        </a:p>
      </dgm:t>
    </dgm:pt>
    <dgm:pt modelId="{D99DBDFB-ED52-48F3-8D3E-271C50D2B79E}" type="pres">
      <dgm:prSet presAssocID="{2D341EAF-8E02-4FFB-8BC7-8E749BCA3386}" presName="hierRoot2" presStyleCnt="0">
        <dgm:presLayoutVars>
          <dgm:hierBranch val="init"/>
        </dgm:presLayoutVars>
      </dgm:prSet>
      <dgm:spPr/>
    </dgm:pt>
    <dgm:pt modelId="{9B763932-5A53-4A74-B004-D003C43E18EE}" type="pres">
      <dgm:prSet presAssocID="{2D341EAF-8E02-4FFB-8BC7-8E749BCA3386}" presName="rootComposite" presStyleCnt="0"/>
      <dgm:spPr/>
    </dgm:pt>
    <dgm:pt modelId="{889AFA51-C7BD-4939-911F-CB1271EB2AF8}" type="pres">
      <dgm:prSet presAssocID="{2D341EAF-8E02-4FFB-8BC7-8E749BCA3386}" presName="rootText" presStyleLbl="node3" presStyleIdx="16" presStyleCnt="27" custScaleX="489722" custScaleY="166169" custLinFactX="-12383" custLinFactNeighborX="-100000" custLinFactNeighborY="-39983">
        <dgm:presLayoutVars>
          <dgm:chPref val="3"/>
        </dgm:presLayoutVars>
      </dgm:prSet>
      <dgm:spPr/>
      <dgm:t>
        <a:bodyPr/>
        <a:lstStyle/>
        <a:p>
          <a:endParaRPr lang="en-GB"/>
        </a:p>
      </dgm:t>
    </dgm:pt>
    <dgm:pt modelId="{A98729FF-77F6-46B8-967E-2555C25F663E}" type="pres">
      <dgm:prSet presAssocID="{2D341EAF-8E02-4FFB-8BC7-8E749BCA3386}" presName="rootConnector" presStyleLbl="node3" presStyleIdx="16" presStyleCnt="27"/>
      <dgm:spPr/>
      <dgm:t>
        <a:bodyPr/>
        <a:lstStyle/>
        <a:p>
          <a:endParaRPr lang="en-GB"/>
        </a:p>
      </dgm:t>
    </dgm:pt>
    <dgm:pt modelId="{F7EF3153-14EB-492F-AE95-D320C0C069FC}" type="pres">
      <dgm:prSet presAssocID="{2D341EAF-8E02-4FFB-8BC7-8E749BCA3386}" presName="hierChild4" presStyleCnt="0"/>
      <dgm:spPr/>
    </dgm:pt>
    <dgm:pt modelId="{A35E699F-E00D-4206-A588-89F62AAE38EC}" type="pres">
      <dgm:prSet presAssocID="{2D341EAF-8E02-4FFB-8BC7-8E749BCA3386}" presName="hierChild5" presStyleCnt="0"/>
      <dgm:spPr/>
    </dgm:pt>
    <dgm:pt modelId="{24EA762B-4AE4-49BB-ACA9-F208C93443F3}" type="pres">
      <dgm:prSet presAssocID="{23C38686-FC84-49F1-B747-F325F35C7D06}" presName="Name37" presStyleLbl="parChTrans1D3" presStyleIdx="17" presStyleCnt="27"/>
      <dgm:spPr/>
      <dgm:t>
        <a:bodyPr/>
        <a:lstStyle/>
        <a:p>
          <a:endParaRPr lang="en-GB"/>
        </a:p>
      </dgm:t>
    </dgm:pt>
    <dgm:pt modelId="{743E9B0D-08DF-427F-823F-CF3DE19E2DA6}" type="pres">
      <dgm:prSet presAssocID="{AEF99AFC-BCE6-483A-9DBF-D4311D315409}" presName="hierRoot2" presStyleCnt="0">
        <dgm:presLayoutVars>
          <dgm:hierBranch val="init"/>
        </dgm:presLayoutVars>
      </dgm:prSet>
      <dgm:spPr/>
    </dgm:pt>
    <dgm:pt modelId="{3099D2FC-CB3B-40A5-B474-CD9965330136}" type="pres">
      <dgm:prSet presAssocID="{AEF99AFC-BCE6-483A-9DBF-D4311D315409}" presName="rootComposite" presStyleCnt="0"/>
      <dgm:spPr/>
    </dgm:pt>
    <dgm:pt modelId="{5566157D-149C-460F-97F5-CE2E5214442B}" type="pres">
      <dgm:prSet presAssocID="{AEF99AFC-BCE6-483A-9DBF-D4311D315409}" presName="rootText" presStyleLbl="node3" presStyleIdx="17" presStyleCnt="27" custScaleX="489722" custScaleY="221559" custLinFactX="-14728" custLinFactNeighborX="-100000" custLinFactNeighborY="-26569">
        <dgm:presLayoutVars>
          <dgm:chPref val="3"/>
        </dgm:presLayoutVars>
      </dgm:prSet>
      <dgm:spPr/>
      <dgm:t>
        <a:bodyPr/>
        <a:lstStyle/>
        <a:p>
          <a:endParaRPr lang="en-GB"/>
        </a:p>
      </dgm:t>
    </dgm:pt>
    <dgm:pt modelId="{1278BCC9-713A-42EA-B5C7-590514CE77EA}" type="pres">
      <dgm:prSet presAssocID="{AEF99AFC-BCE6-483A-9DBF-D4311D315409}" presName="rootConnector" presStyleLbl="node3" presStyleIdx="17" presStyleCnt="27"/>
      <dgm:spPr/>
      <dgm:t>
        <a:bodyPr/>
        <a:lstStyle/>
        <a:p>
          <a:endParaRPr lang="en-GB"/>
        </a:p>
      </dgm:t>
    </dgm:pt>
    <dgm:pt modelId="{A81B85AC-D1FE-4D14-88FC-5D972597779D}" type="pres">
      <dgm:prSet presAssocID="{AEF99AFC-BCE6-483A-9DBF-D4311D315409}" presName="hierChild4" presStyleCnt="0"/>
      <dgm:spPr/>
    </dgm:pt>
    <dgm:pt modelId="{316C3BD7-4B8D-418B-8A23-CB0C7576EEFB}" type="pres">
      <dgm:prSet presAssocID="{AEF99AFC-BCE6-483A-9DBF-D4311D315409}" presName="hierChild5" presStyleCnt="0"/>
      <dgm:spPr/>
    </dgm:pt>
    <dgm:pt modelId="{5EE41A7C-9A60-4601-9E7F-353EBE225BC6}" type="pres">
      <dgm:prSet presAssocID="{50B3E178-BFC2-4416-AC2A-F7733BD7FD55}" presName="Name37" presStyleLbl="parChTrans1D3" presStyleIdx="18" presStyleCnt="27"/>
      <dgm:spPr/>
      <dgm:t>
        <a:bodyPr/>
        <a:lstStyle/>
        <a:p>
          <a:endParaRPr lang="en-GB"/>
        </a:p>
      </dgm:t>
    </dgm:pt>
    <dgm:pt modelId="{3808C761-5149-4948-9D45-53A8311C1558}" type="pres">
      <dgm:prSet presAssocID="{07A97D4C-A6EA-472B-B9F4-9A14FB6975E8}" presName="hierRoot2" presStyleCnt="0">
        <dgm:presLayoutVars>
          <dgm:hierBranch val="init"/>
        </dgm:presLayoutVars>
      </dgm:prSet>
      <dgm:spPr/>
    </dgm:pt>
    <dgm:pt modelId="{FEAB8C43-AD8A-416B-AFC7-40621C30E60F}" type="pres">
      <dgm:prSet presAssocID="{07A97D4C-A6EA-472B-B9F4-9A14FB6975E8}" presName="rootComposite" presStyleCnt="0"/>
      <dgm:spPr/>
    </dgm:pt>
    <dgm:pt modelId="{84973679-6F82-4ED4-A935-CA4A0FD0F148}" type="pres">
      <dgm:prSet presAssocID="{07A97D4C-A6EA-472B-B9F4-9A14FB6975E8}" presName="rootText" presStyleLbl="node3" presStyleIdx="18" presStyleCnt="27" custScaleX="489722" custScaleY="371158" custLinFactX="-5994" custLinFactNeighborX="-100000" custLinFactNeighborY="1329">
        <dgm:presLayoutVars>
          <dgm:chPref val="3"/>
        </dgm:presLayoutVars>
      </dgm:prSet>
      <dgm:spPr/>
      <dgm:t>
        <a:bodyPr/>
        <a:lstStyle/>
        <a:p>
          <a:endParaRPr lang="en-GB"/>
        </a:p>
      </dgm:t>
    </dgm:pt>
    <dgm:pt modelId="{40F4D01A-1074-4751-950A-F4647C147244}" type="pres">
      <dgm:prSet presAssocID="{07A97D4C-A6EA-472B-B9F4-9A14FB6975E8}" presName="rootConnector" presStyleLbl="node3" presStyleIdx="18" presStyleCnt="27"/>
      <dgm:spPr/>
      <dgm:t>
        <a:bodyPr/>
        <a:lstStyle/>
        <a:p>
          <a:endParaRPr lang="en-GB"/>
        </a:p>
      </dgm:t>
    </dgm:pt>
    <dgm:pt modelId="{27DF98D2-62E1-417C-82E4-D2FE02A4F5FE}" type="pres">
      <dgm:prSet presAssocID="{07A97D4C-A6EA-472B-B9F4-9A14FB6975E8}" presName="hierChild4" presStyleCnt="0"/>
      <dgm:spPr/>
    </dgm:pt>
    <dgm:pt modelId="{89A855E3-C00B-499B-87FC-C1CB1ECF0F4E}" type="pres">
      <dgm:prSet presAssocID="{07A97D4C-A6EA-472B-B9F4-9A14FB6975E8}" presName="hierChild5" presStyleCnt="0"/>
      <dgm:spPr/>
    </dgm:pt>
    <dgm:pt modelId="{FC2A0575-63FD-4437-9846-05FE755CCA4D}" type="pres">
      <dgm:prSet presAssocID="{BB821B91-6134-47D8-8488-D39B8F6FB9F5}" presName="Name37" presStyleLbl="parChTrans1D3" presStyleIdx="19" presStyleCnt="27"/>
      <dgm:spPr/>
      <dgm:t>
        <a:bodyPr/>
        <a:lstStyle/>
        <a:p>
          <a:endParaRPr lang="en-GB"/>
        </a:p>
      </dgm:t>
    </dgm:pt>
    <dgm:pt modelId="{988B3699-602D-4992-9E3E-924521844B38}" type="pres">
      <dgm:prSet presAssocID="{32925A20-E0E2-491B-BCB4-1CACA4A7DB4F}" presName="hierRoot2" presStyleCnt="0">
        <dgm:presLayoutVars>
          <dgm:hierBranch val="init"/>
        </dgm:presLayoutVars>
      </dgm:prSet>
      <dgm:spPr/>
    </dgm:pt>
    <dgm:pt modelId="{8F8D8B90-26CA-4EA2-A128-D53D16BD5520}" type="pres">
      <dgm:prSet presAssocID="{32925A20-E0E2-491B-BCB4-1CACA4A7DB4F}" presName="rootComposite" presStyleCnt="0"/>
      <dgm:spPr/>
    </dgm:pt>
    <dgm:pt modelId="{9185C20B-3F53-4B76-A66A-573CD6C3DBE0}" type="pres">
      <dgm:prSet presAssocID="{32925A20-E0E2-491B-BCB4-1CACA4A7DB4F}" presName="rootText" presStyleLbl="node3" presStyleIdx="19" presStyleCnt="27" custScaleX="489722" custScaleY="221559" custLinFactX="-3649" custLinFactNeighborX="-100000" custLinFactNeighborY="22430">
        <dgm:presLayoutVars>
          <dgm:chPref val="3"/>
        </dgm:presLayoutVars>
      </dgm:prSet>
      <dgm:spPr/>
      <dgm:t>
        <a:bodyPr/>
        <a:lstStyle/>
        <a:p>
          <a:endParaRPr lang="en-GB"/>
        </a:p>
      </dgm:t>
    </dgm:pt>
    <dgm:pt modelId="{F7DFF23A-F7C5-477C-B4A9-B17D28FAD8AD}" type="pres">
      <dgm:prSet presAssocID="{32925A20-E0E2-491B-BCB4-1CACA4A7DB4F}" presName="rootConnector" presStyleLbl="node3" presStyleIdx="19" presStyleCnt="27"/>
      <dgm:spPr/>
      <dgm:t>
        <a:bodyPr/>
        <a:lstStyle/>
        <a:p>
          <a:endParaRPr lang="en-GB"/>
        </a:p>
      </dgm:t>
    </dgm:pt>
    <dgm:pt modelId="{7527F933-E877-4C7E-A425-6522C0EA79DC}" type="pres">
      <dgm:prSet presAssocID="{32925A20-E0E2-491B-BCB4-1CACA4A7DB4F}" presName="hierChild4" presStyleCnt="0"/>
      <dgm:spPr/>
    </dgm:pt>
    <dgm:pt modelId="{47E34A57-57F2-49DC-852B-7FFD59F11D0A}" type="pres">
      <dgm:prSet presAssocID="{32925A20-E0E2-491B-BCB4-1CACA4A7DB4F}" presName="hierChild5" presStyleCnt="0"/>
      <dgm:spPr/>
    </dgm:pt>
    <dgm:pt modelId="{93C87654-F184-4CA5-85BD-B0DA8E3B6D6E}" type="pres">
      <dgm:prSet presAssocID="{4A2B5A49-02C5-4CAF-B182-FD73BC39F0B6}" presName="hierChild5" presStyleCnt="0"/>
      <dgm:spPr/>
    </dgm:pt>
    <dgm:pt modelId="{52E9BC89-FDF8-438D-A60C-DC48E0884547}" type="pres">
      <dgm:prSet presAssocID="{D3AB7F58-C8BD-4F52-BA48-1335ECA51BF3}" presName="Name37" presStyleLbl="parChTrans1D2" presStyleIdx="3" presStyleCnt="4"/>
      <dgm:spPr/>
      <dgm:t>
        <a:bodyPr/>
        <a:lstStyle/>
        <a:p>
          <a:endParaRPr lang="en-GB"/>
        </a:p>
      </dgm:t>
    </dgm:pt>
    <dgm:pt modelId="{FF68940A-B349-444C-AA28-D3E810C7133D}" type="pres">
      <dgm:prSet presAssocID="{17012AFC-D3C1-4556-BCA0-69E7EF7D426B}" presName="hierRoot2" presStyleCnt="0">
        <dgm:presLayoutVars>
          <dgm:hierBranch val="init"/>
        </dgm:presLayoutVars>
      </dgm:prSet>
      <dgm:spPr/>
    </dgm:pt>
    <dgm:pt modelId="{6574B68E-08D6-4445-A396-E3011C6F1F1E}" type="pres">
      <dgm:prSet presAssocID="{17012AFC-D3C1-4556-BCA0-69E7EF7D426B}" presName="rootComposite" presStyleCnt="0"/>
      <dgm:spPr/>
    </dgm:pt>
    <dgm:pt modelId="{2034BB97-76EC-478B-8B14-7267569BC1AA}" type="pres">
      <dgm:prSet presAssocID="{17012AFC-D3C1-4556-BCA0-69E7EF7D426B}" presName="rootText" presStyleLbl="node2" presStyleIdx="3" presStyleCnt="4" custScaleX="489722" custScaleY="161051" custLinFactNeighborX="6626" custLinFactNeighborY="-25398">
        <dgm:presLayoutVars>
          <dgm:chPref val="3"/>
        </dgm:presLayoutVars>
      </dgm:prSet>
      <dgm:spPr/>
      <dgm:t>
        <a:bodyPr/>
        <a:lstStyle/>
        <a:p>
          <a:endParaRPr lang="en-GB"/>
        </a:p>
      </dgm:t>
    </dgm:pt>
    <dgm:pt modelId="{8A30A787-B8DD-468A-B6C4-47C9516B39E9}" type="pres">
      <dgm:prSet presAssocID="{17012AFC-D3C1-4556-BCA0-69E7EF7D426B}" presName="rootConnector" presStyleLbl="node2" presStyleIdx="3" presStyleCnt="4"/>
      <dgm:spPr/>
      <dgm:t>
        <a:bodyPr/>
        <a:lstStyle/>
        <a:p>
          <a:endParaRPr lang="en-GB"/>
        </a:p>
      </dgm:t>
    </dgm:pt>
    <dgm:pt modelId="{41BF1B5E-8FD9-49C9-A221-D6ACE8B91BB2}" type="pres">
      <dgm:prSet presAssocID="{17012AFC-D3C1-4556-BCA0-69E7EF7D426B}" presName="hierChild4" presStyleCnt="0"/>
      <dgm:spPr/>
    </dgm:pt>
    <dgm:pt modelId="{0964CB70-41C0-4F29-B83E-AE1B76280125}" type="pres">
      <dgm:prSet presAssocID="{5E41AA33-18C8-4417-B53F-484A14595051}" presName="Name37" presStyleLbl="parChTrans1D3" presStyleIdx="20" presStyleCnt="27"/>
      <dgm:spPr/>
      <dgm:t>
        <a:bodyPr/>
        <a:lstStyle/>
        <a:p>
          <a:endParaRPr lang="en-GB"/>
        </a:p>
      </dgm:t>
    </dgm:pt>
    <dgm:pt modelId="{263DF04E-9489-43B9-9919-6D4BBFA8FEFA}" type="pres">
      <dgm:prSet presAssocID="{4F00BF85-AC72-481D-BE7B-D4C9F900999E}" presName="hierRoot2" presStyleCnt="0">
        <dgm:presLayoutVars>
          <dgm:hierBranch val="init"/>
        </dgm:presLayoutVars>
      </dgm:prSet>
      <dgm:spPr/>
    </dgm:pt>
    <dgm:pt modelId="{E3F323DD-D680-49A4-969C-D5BAF821034F}" type="pres">
      <dgm:prSet presAssocID="{4F00BF85-AC72-481D-BE7B-D4C9F900999E}" presName="rootComposite" presStyleCnt="0"/>
      <dgm:spPr/>
    </dgm:pt>
    <dgm:pt modelId="{6525961F-8FBD-4859-8DE6-CC029265436B}" type="pres">
      <dgm:prSet presAssocID="{4F00BF85-AC72-481D-BE7B-D4C9F900999E}" presName="rootText" presStyleLbl="node3" presStyleIdx="20" presStyleCnt="27" custScaleX="397900" custScaleY="221559" custLinFactNeighborX="-78355" custLinFactNeighborY="-57863">
        <dgm:presLayoutVars>
          <dgm:chPref val="3"/>
        </dgm:presLayoutVars>
      </dgm:prSet>
      <dgm:spPr/>
      <dgm:t>
        <a:bodyPr/>
        <a:lstStyle/>
        <a:p>
          <a:endParaRPr lang="en-GB"/>
        </a:p>
      </dgm:t>
    </dgm:pt>
    <dgm:pt modelId="{74A4E3A4-EC91-46B0-B939-76D9B05E6BDA}" type="pres">
      <dgm:prSet presAssocID="{4F00BF85-AC72-481D-BE7B-D4C9F900999E}" presName="rootConnector" presStyleLbl="node3" presStyleIdx="20" presStyleCnt="27"/>
      <dgm:spPr/>
      <dgm:t>
        <a:bodyPr/>
        <a:lstStyle/>
        <a:p>
          <a:endParaRPr lang="en-GB"/>
        </a:p>
      </dgm:t>
    </dgm:pt>
    <dgm:pt modelId="{C3D653DD-ECF6-4E60-B355-4686266D6C59}" type="pres">
      <dgm:prSet presAssocID="{4F00BF85-AC72-481D-BE7B-D4C9F900999E}" presName="hierChild4" presStyleCnt="0"/>
      <dgm:spPr/>
    </dgm:pt>
    <dgm:pt modelId="{8FB834D5-02D4-4988-BD91-B25BA84DF879}" type="pres">
      <dgm:prSet presAssocID="{4F00BF85-AC72-481D-BE7B-D4C9F900999E}" presName="hierChild5" presStyleCnt="0"/>
      <dgm:spPr/>
    </dgm:pt>
    <dgm:pt modelId="{3B1825C6-1AEF-462F-A1CD-79B8796D71BF}" type="pres">
      <dgm:prSet presAssocID="{2E1B0A68-5385-427D-BCDA-B3B9911E240A}" presName="Name37" presStyleLbl="parChTrans1D3" presStyleIdx="21" presStyleCnt="27"/>
      <dgm:spPr/>
      <dgm:t>
        <a:bodyPr/>
        <a:lstStyle/>
        <a:p>
          <a:endParaRPr lang="en-GB"/>
        </a:p>
      </dgm:t>
    </dgm:pt>
    <dgm:pt modelId="{1F8D0472-FD32-4DED-B15C-7E970B2412C0}" type="pres">
      <dgm:prSet presAssocID="{8B3B7F3F-9569-4813-B483-35B81A80F496}" presName="hierRoot2" presStyleCnt="0">
        <dgm:presLayoutVars>
          <dgm:hierBranch val="init"/>
        </dgm:presLayoutVars>
      </dgm:prSet>
      <dgm:spPr/>
    </dgm:pt>
    <dgm:pt modelId="{9DEDC8FA-ED3E-48E4-AB8D-137BF79A65A7}" type="pres">
      <dgm:prSet presAssocID="{8B3B7F3F-9569-4813-B483-35B81A80F496}" presName="rootComposite" presStyleCnt="0"/>
      <dgm:spPr/>
    </dgm:pt>
    <dgm:pt modelId="{78EE5F20-2D72-4F04-BE3F-8283CA4EB390}" type="pres">
      <dgm:prSet presAssocID="{8B3B7F3F-9569-4813-B483-35B81A80F496}" presName="rootText" presStyleLbl="node3" presStyleIdx="21" presStyleCnt="27" custScaleX="397900" custScaleY="221559" custLinFactNeighborX="-78105" custLinFactNeighborY="-74282">
        <dgm:presLayoutVars>
          <dgm:chPref val="3"/>
        </dgm:presLayoutVars>
      </dgm:prSet>
      <dgm:spPr/>
      <dgm:t>
        <a:bodyPr/>
        <a:lstStyle/>
        <a:p>
          <a:endParaRPr lang="en-GB"/>
        </a:p>
      </dgm:t>
    </dgm:pt>
    <dgm:pt modelId="{AF9B3472-43A8-400D-9CD2-962F2F9B4648}" type="pres">
      <dgm:prSet presAssocID="{8B3B7F3F-9569-4813-B483-35B81A80F496}" presName="rootConnector" presStyleLbl="node3" presStyleIdx="21" presStyleCnt="27"/>
      <dgm:spPr/>
      <dgm:t>
        <a:bodyPr/>
        <a:lstStyle/>
        <a:p>
          <a:endParaRPr lang="en-GB"/>
        </a:p>
      </dgm:t>
    </dgm:pt>
    <dgm:pt modelId="{94FAFAF2-B215-4FD2-AE42-95E99BABD887}" type="pres">
      <dgm:prSet presAssocID="{8B3B7F3F-9569-4813-B483-35B81A80F496}" presName="hierChild4" presStyleCnt="0"/>
      <dgm:spPr/>
    </dgm:pt>
    <dgm:pt modelId="{71E9BBD6-E89A-40A3-8262-42160D86FB87}" type="pres">
      <dgm:prSet presAssocID="{8B3B7F3F-9569-4813-B483-35B81A80F496}" presName="hierChild5" presStyleCnt="0"/>
      <dgm:spPr/>
    </dgm:pt>
    <dgm:pt modelId="{4C665A08-AC56-45D8-8D87-B1C7BBA58F7E}" type="pres">
      <dgm:prSet presAssocID="{36E96AA5-58BD-4463-8AC7-C7605675329D}" presName="Name37" presStyleLbl="parChTrans1D3" presStyleIdx="22" presStyleCnt="27"/>
      <dgm:spPr/>
      <dgm:t>
        <a:bodyPr/>
        <a:lstStyle/>
        <a:p>
          <a:endParaRPr lang="en-GB"/>
        </a:p>
      </dgm:t>
    </dgm:pt>
    <dgm:pt modelId="{82262C01-9B44-43CF-8FB1-7BB5BEE6F4FA}" type="pres">
      <dgm:prSet presAssocID="{7040D635-CE3C-4D39-B00B-23C0DAD01902}" presName="hierRoot2" presStyleCnt="0">
        <dgm:presLayoutVars>
          <dgm:hierBranch val="init"/>
        </dgm:presLayoutVars>
      </dgm:prSet>
      <dgm:spPr/>
    </dgm:pt>
    <dgm:pt modelId="{C7A3390F-3E75-4B07-AF4B-15926CB03FCA}" type="pres">
      <dgm:prSet presAssocID="{7040D635-CE3C-4D39-B00B-23C0DAD01902}" presName="rootComposite" presStyleCnt="0"/>
      <dgm:spPr/>
    </dgm:pt>
    <dgm:pt modelId="{C2E3C8C2-963F-46A6-A733-D84654932C5D}" type="pres">
      <dgm:prSet presAssocID="{7040D635-CE3C-4D39-B00B-23C0DAD01902}" presName="rootText" presStyleLbl="node3" presStyleIdx="22" presStyleCnt="27" custScaleX="397900" custScaleY="289967" custLinFactNeighborX="-77789" custLinFactNeighborY="-86011">
        <dgm:presLayoutVars>
          <dgm:chPref val="3"/>
        </dgm:presLayoutVars>
      </dgm:prSet>
      <dgm:spPr/>
      <dgm:t>
        <a:bodyPr/>
        <a:lstStyle/>
        <a:p>
          <a:endParaRPr lang="en-GB"/>
        </a:p>
      </dgm:t>
    </dgm:pt>
    <dgm:pt modelId="{77C70671-18DE-43E8-BF2F-71650C01E492}" type="pres">
      <dgm:prSet presAssocID="{7040D635-CE3C-4D39-B00B-23C0DAD01902}" presName="rootConnector" presStyleLbl="node3" presStyleIdx="22" presStyleCnt="27"/>
      <dgm:spPr/>
      <dgm:t>
        <a:bodyPr/>
        <a:lstStyle/>
        <a:p>
          <a:endParaRPr lang="en-GB"/>
        </a:p>
      </dgm:t>
    </dgm:pt>
    <dgm:pt modelId="{4CDCC8AD-A25D-4C3B-8942-D1A0FD71140E}" type="pres">
      <dgm:prSet presAssocID="{7040D635-CE3C-4D39-B00B-23C0DAD01902}" presName="hierChild4" presStyleCnt="0"/>
      <dgm:spPr/>
    </dgm:pt>
    <dgm:pt modelId="{88CAC4A9-BC6A-438D-BA4D-2EE944A0E38F}" type="pres">
      <dgm:prSet presAssocID="{7040D635-CE3C-4D39-B00B-23C0DAD01902}" presName="hierChild5" presStyleCnt="0"/>
      <dgm:spPr/>
    </dgm:pt>
    <dgm:pt modelId="{A60D6A16-F6F3-469C-998A-AD9746314B50}" type="pres">
      <dgm:prSet presAssocID="{97E78FE5-005F-480B-ADDD-02C500177BBA}" presName="Name37" presStyleLbl="parChTrans1D3" presStyleIdx="23" presStyleCnt="27"/>
      <dgm:spPr/>
      <dgm:t>
        <a:bodyPr/>
        <a:lstStyle/>
        <a:p>
          <a:endParaRPr lang="en-GB"/>
        </a:p>
      </dgm:t>
    </dgm:pt>
    <dgm:pt modelId="{4441AEDA-4626-4FDD-AEB8-482A7E8505F0}" type="pres">
      <dgm:prSet presAssocID="{E9A975ED-C728-4E64-B90E-4B505F6C90B9}" presName="hierRoot2" presStyleCnt="0">
        <dgm:presLayoutVars>
          <dgm:hierBranch val="init"/>
        </dgm:presLayoutVars>
      </dgm:prSet>
      <dgm:spPr/>
    </dgm:pt>
    <dgm:pt modelId="{90AF87E6-E15C-48DE-B534-41D432C2A4EB}" type="pres">
      <dgm:prSet presAssocID="{E9A975ED-C728-4E64-B90E-4B505F6C90B9}" presName="rootComposite" presStyleCnt="0"/>
      <dgm:spPr/>
    </dgm:pt>
    <dgm:pt modelId="{B12AF6D6-EC2F-4B2B-992C-8D08E7129CD6}" type="pres">
      <dgm:prSet presAssocID="{E9A975ED-C728-4E64-B90E-4B505F6C90B9}" presName="rootText" presStyleLbl="node3" presStyleIdx="23" presStyleCnt="27" custScaleX="397900" custScaleY="221559" custLinFactY="-2668" custLinFactNeighborX="-76954" custLinFactNeighborY="-100000">
        <dgm:presLayoutVars>
          <dgm:chPref val="3"/>
        </dgm:presLayoutVars>
      </dgm:prSet>
      <dgm:spPr/>
      <dgm:t>
        <a:bodyPr/>
        <a:lstStyle/>
        <a:p>
          <a:endParaRPr lang="en-GB"/>
        </a:p>
      </dgm:t>
    </dgm:pt>
    <dgm:pt modelId="{35745B26-F070-41AC-9DB6-D2575B1469B0}" type="pres">
      <dgm:prSet presAssocID="{E9A975ED-C728-4E64-B90E-4B505F6C90B9}" presName="rootConnector" presStyleLbl="node3" presStyleIdx="23" presStyleCnt="27"/>
      <dgm:spPr/>
      <dgm:t>
        <a:bodyPr/>
        <a:lstStyle/>
        <a:p>
          <a:endParaRPr lang="en-GB"/>
        </a:p>
      </dgm:t>
    </dgm:pt>
    <dgm:pt modelId="{C2C426F3-897A-41DF-9FD6-5BE1C57312E0}" type="pres">
      <dgm:prSet presAssocID="{E9A975ED-C728-4E64-B90E-4B505F6C90B9}" presName="hierChild4" presStyleCnt="0"/>
      <dgm:spPr/>
    </dgm:pt>
    <dgm:pt modelId="{0BEBC681-498A-4F39-9A2E-C95C6088EB34}" type="pres">
      <dgm:prSet presAssocID="{E9A975ED-C728-4E64-B90E-4B505F6C90B9}" presName="hierChild5" presStyleCnt="0"/>
      <dgm:spPr/>
    </dgm:pt>
    <dgm:pt modelId="{33F05970-CE5A-4B8F-B2ED-821CE72425D7}" type="pres">
      <dgm:prSet presAssocID="{4C075103-1FAA-4D49-8304-A018805FFDE8}" presName="Name37" presStyleLbl="parChTrans1D3" presStyleIdx="24" presStyleCnt="27"/>
      <dgm:spPr/>
      <dgm:t>
        <a:bodyPr/>
        <a:lstStyle/>
        <a:p>
          <a:endParaRPr lang="en-GB"/>
        </a:p>
      </dgm:t>
    </dgm:pt>
    <dgm:pt modelId="{750B74F5-7E79-432C-B0C5-A04C45276A2A}" type="pres">
      <dgm:prSet presAssocID="{9002187A-E2EC-4717-831E-102A4221D70E}" presName="hierRoot2" presStyleCnt="0">
        <dgm:presLayoutVars>
          <dgm:hierBranch val="init"/>
        </dgm:presLayoutVars>
      </dgm:prSet>
      <dgm:spPr/>
    </dgm:pt>
    <dgm:pt modelId="{5794658F-6AE0-446D-9AB2-1BF0383CDC68}" type="pres">
      <dgm:prSet presAssocID="{9002187A-E2EC-4717-831E-102A4221D70E}" presName="rootComposite" presStyleCnt="0"/>
      <dgm:spPr/>
    </dgm:pt>
    <dgm:pt modelId="{66F06CE1-3BB0-4A85-8D70-A149B82E3BB3}" type="pres">
      <dgm:prSet presAssocID="{9002187A-E2EC-4717-831E-102A4221D70E}" presName="rootText" presStyleLbl="node3" presStyleIdx="24" presStyleCnt="27" custScaleX="397900" custScaleY="166169" custLinFactY="-23057" custLinFactNeighborX="-78342" custLinFactNeighborY="-100000">
        <dgm:presLayoutVars>
          <dgm:chPref val="3"/>
        </dgm:presLayoutVars>
      </dgm:prSet>
      <dgm:spPr/>
      <dgm:t>
        <a:bodyPr/>
        <a:lstStyle/>
        <a:p>
          <a:endParaRPr lang="en-GB"/>
        </a:p>
      </dgm:t>
    </dgm:pt>
    <dgm:pt modelId="{AC80687D-CE89-4BFB-A0CD-895A4C091F36}" type="pres">
      <dgm:prSet presAssocID="{9002187A-E2EC-4717-831E-102A4221D70E}" presName="rootConnector" presStyleLbl="node3" presStyleIdx="24" presStyleCnt="27"/>
      <dgm:spPr/>
      <dgm:t>
        <a:bodyPr/>
        <a:lstStyle/>
        <a:p>
          <a:endParaRPr lang="en-GB"/>
        </a:p>
      </dgm:t>
    </dgm:pt>
    <dgm:pt modelId="{C1C6460D-BBC0-4C5A-948B-BA1CAF8F431F}" type="pres">
      <dgm:prSet presAssocID="{9002187A-E2EC-4717-831E-102A4221D70E}" presName="hierChild4" presStyleCnt="0"/>
      <dgm:spPr/>
    </dgm:pt>
    <dgm:pt modelId="{2A7DEF8A-AA33-467C-ACC5-25E463A8AC02}" type="pres">
      <dgm:prSet presAssocID="{9002187A-E2EC-4717-831E-102A4221D70E}" presName="hierChild5" presStyleCnt="0"/>
      <dgm:spPr/>
    </dgm:pt>
    <dgm:pt modelId="{EE5F5FC3-2FC6-4461-ABAA-F66D65415C6E}" type="pres">
      <dgm:prSet presAssocID="{BFBB2B3E-EE3E-4352-9F16-33C8D905B52C}" presName="Name37" presStyleLbl="parChTrans1D3" presStyleIdx="25" presStyleCnt="27"/>
      <dgm:spPr/>
      <dgm:t>
        <a:bodyPr/>
        <a:lstStyle/>
        <a:p>
          <a:endParaRPr lang="en-GB"/>
        </a:p>
      </dgm:t>
    </dgm:pt>
    <dgm:pt modelId="{B8B24061-FF3D-4B2F-9205-9859AA45EE72}" type="pres">
      <dgm:prSet presAssocID="{795D8047-9602-4F28-A46F-427EBC32A9A5}" presName="hierRoot2" presStyleCnt="0">
        <dgm:presLayoutVars>
          <dgm:hierBranch val="init"/>
        </dgm:presLayoutVars>
      </dgm:prSet>
      <dgm:spPr/>
    </dgm:pt>
    <dgm:pt modelId="{429910CB-8F46-4C1D-B088-A8348BDCFA4E}" type="pres">
      <dgm:prSet presAssocID="{795D8047-9602-4F28-A46F-427EBC32A9A5}" presName="rootComposite" presStyleCnt="0"/>
      <dgm:spPr/>
    </dgm:pt>
    <dgm:pt modelId="{FDBEDC48-7610-4008-971F-97F33921F3AB}" type="pres">
      <dgm:prSet presAssocID="{795D8047-9602-4F28-A46F-427EBC32A9A5}" presName="rootText" presStyleLbl="node3" presStyleIdx="25" presStyleCnt="27" custScaleX="397900" custLinFactY="-53959" custLinFactNeighborX="-80017" custLinFactNeighborY="-100000">
        <dgm:presLayoutVars>
          <dgm:chPref val="3"/>
        </dgm:presLayoutVars>
      </dgm:prSet>
      <dgm:spPr/>
      <dgm:t>
        <a:bodyPr/>
        <a:lstStyle/>
        <a:p>
          <a:endParaRPr lang="en-GB"/>
        </a:p>
      </dgm:t>
    </dgm:pt>
    <dgm:pt modelId="{8FA4DC7A-1F32-4EBD-B2D2-2B337761960E}" type="pres">
      <dgm:prSet presAssocID="{795D8047-9602-4F28-A46F-427EBC32A9A5}" presName="rootConnector" presStyleLbl="node3" presStyleIdx="25" presStyleCnt="27"/>
      <dgm:spPr/>
      <dgm:t>
        <a:bodyPr/>
        <a:lstStyle/>
        <a:p>
          <a:endParaRPr lang="en-GB"/>
        </a:p>
      </dgm:t>
    </dgm:pt>
    <dgm:pt modelId="{096C45DE-ADFA-4070-A08E-77D21DA69EC9}" type="pres">
      <dgm:prSet presAssocID="{795D8047-9602-4F28-A46F-427EBC32A9A5}" presName="hierChild4" presStyleCnt="0"/>
      <dgm:spPr/>
    </dgm:pt>
    <dgm:pt modelId="{95EC7B72-4125-4746-BA92-652C046DBF7E}" type="pres">
      <dgm:prSet presAssocID="{795D8047-9602-4F28-A46F-427EBC32A9A5}" presName="hierChild5" presStyleCnt="0"/>
      <dgm:spPr/>
    </dgm:pt>
    <dgm:pt modelId="{47EA5480-D883-4F10-85FC-3C1C11868AAB}" type="pres">
      <dgm:prSet presAssocID="{3E8566DB-3FD9-4E15-964E-6C880A5BB489}" presName="Name37" presStyleLbl="parChTrans1D3" presStyleIdx="26" presStyleCnt="27"/>
      <dgm:spPr/>
      <dgm:t>
        <a:bodyPr/>
        <a:lstStyle/>
        <a:p>
          <a:endParaRPr lang="en-GB"/>
        </a:p>
      </dgm:t>
    </dgm:pt>
    <dgm:pt modelId="{BCF512F6-6D36-4271-A50B-AD3B7CF7BA17}" type="pres">
      <dgm:prSet presAssocID="{7CE8175F-BCF0-4B92-A842-728EC78F57D8}" presName="hierRoot2" presStyleCnt="0">
        <dgm:presLayoutVars>
          <dgm:hierBranch val="init"/>
        </dgm:presLayoutVars>
      </dgm:prSet>
      <dgm:spPr/>
    </dgm:pt>
    <dgm:pt modelId="{D2ED8F56-4F8E-4086-8442-C1584854E740}" type="pres">
      <dgm:prSet presAssocID="{7CE8175F-BCF0-4B92-A842-728EC78F57D8}" presName="rootComposite" presStyleCnt="0"/>
      <dgm:spPr/>
    </dgm:pt>
    <dgm:pt modelId="{D80FB876-3642-4FE6-B768-C498CB2DC45B}" type="pres">
      <dgm:prSet presAssocID="{7CE8175F-BCF0-4B92-A842-728EC78F57D8}" presName="rootText" presStyleLbl="node3" presStyleIdx="26" presStyleCnt="27" custScaleX="397900" custLinFactY="-75788" custLinFactNeighborX="-82386" custLinFactNeighborY="-100000">
        <dgm:presLayoutVars>
          <dgm:chPref val="3"/>
        </dgm:presLayoutVars>
      </dgm:prSet>
      <dgm:spPr/>
      <dgm:t>
        <a:bodyPr/>
        <a:lstStyle/>
        <a:p>
          <a:endParaRPr lang="en-GB"/>
        </a:p>
      </dgm:t>
    </dgm:pt>
    <dgm:pt modelId="{342F66C1-B350-4FB9-B560-508F7697197D}" type="pres">
      <dgm:prSet presAssocID="{7CE8175F-BCF0-4B92-A842-728EC78F57D8}" presName="rootConnector" presStyleLbl="node3" presStyleIdx="26" presStyleCnt="27"/>
      <dgm:spPr/>
      <dgm:t>
        <a:bodyPr/>
        <a:lstStyle/>
        <a:p>
          <a:endParaRPr lang="en-GB"/>
        </a:p>
      </dgm:t>
    </dgm:pt>
    <dgm:pt modelId="{C4DE29B9-0056-473F-8C63-771358C8FCEC}" type="pres">
      <dgm:prSet presAssocID="{7CE8175F-BCF0-4B92-A842-728EC78F57D8}" presName="hierChild4" presStyleCnt="0"/>
      <dgm:spPr/>
    </dgm:pt>
    <dgm:pt modelId="{0774DFF6-DBE3-4AF0-BB54-65B3ED36A342}" type="pres">
      <dgm:prSet presAssocID="{7CE8175F-BCF0-4B92-A842-728EC78F57D8}" presName="hierChild5" presStyleCnt="0"/>
      <dgm:spPr/>
    </dgm:pt>
    <dgm:pt modelId="{C9882621-E649-49B7-B3B2-676FF7EF65A5}" type="pres">
      <dgm:prSet presAssocID="{17012AFC-D3C1-4556-BCA0-69E7EF7D426B}" presName="hierChild5" presStyleCnt="0"/>
      <dgm:spPr/>
    </dgm:pt>
    <dgm:pt modelId="{ABD12F8A-A439-4063-AA10-A83967468CAB}" type="pres">
      <dgm:prSet presAssocID="{D9A67AE4-4575-43B7-A6F3-0BD58EA221F0}" presName="hierChild3" presStyleCnt="0"/>
      <dgm:spPr/>
    </dgm:pt>
  </dgm:ptLst>
  <dgm:cxnLst>
    <dgm:cxn modelId="{998D8EE4-CFAE-4A87-846E-5FE2E87E0A35}" type="presOf" srcId="{A67701C2-2154-49A9-AEE7-642B0F6E0EDA}" destId="{3C113E1E-FE54-4128-B244-37B8276C710C}" srcOrd="1" destOrd="0" presId="urn:microsoft.com/office/officeart/2005/8/layout/orgChart1"/>
    <dgm:cxn modelId="{1CA3EB56-4D20-4049-AC4D-F022CD1A2275}" type="presOf" srcId="{9EBBB895-7600-4C5C-AD2A-85DBB7813F37}" destId="{14794923-454C-4188-8CA2-A3764EA77813}" srcOrd="1" destOrd="0" presId="urn:microsoft.com/office/officeart/2005/8/layout/orgChart1"/>
    <dgm:cxn modelId="{B111B6DC-CA53-43C5-929D-E2D5693BCFAD}" type="presOf" srcId="{6FFB1031-0A73-4469-BCC7-5B3640D26945}" destId="{50DD9E39-4F50-40C5-BD65-39D9CA175641}" srcOrd="1" destOrd="0" presId="urn:microsoft.com/office/officeart/2005/8/layout/orgChart1"/>
    <dgm:cxn modelId="{C1BAF510-1662-4BCE-BB2B-0C9421B7652B}" type="presOf" srcId="{862E5178-4EA9-49DF-9E29-89AA5E3C5029}" destId="{23EDB892-9EB4-4D68-BBE5-B200E79A66A9}" srcOrd="0" destOrd="0" presId="urn:microsoft.com/office/officeart/2005/8/layout/orgChart1"/>
    <dgm:cxn modelId="{B41BC779-0687-4601-8C78-23E6A9A031AA}" type="presOf" srcId="{8258131A-64F0-468E-89FA-30CD74677209}" destId="{A0C33D3F-A411-47FC-90AA-856B0B304567}" srcOrd="1" destOrd="0" presId="urn:microsoft.com/office/officeart/2005/8/layout/orgChart1"/>
    <dgm:cxn modelId="{70DDDCF9-CBC1-4963-A068-A14F9084AC63}" type="presOf" srcId="{E9A975ED-C728-4E64-B90E-4B505F6C90B9}" destId="{B12AF6D6-EC2F-4B2B-992C-8D08E7129CD6}" srcOrd="0" destOrd="0" presId="urn:microsoft.com/office/officeart/2005/8/layout/orgChart1"/>
    <dgm:cxn modelId="{21928DFF-BB0E-4A90-AFE4-A626D0C2603D}" type="presOf" srcId="{84939823-9C1A-4A52-8238-B36504B8A531}" destId="{36BF8A7A-9D89-41C0-8B99-0645BE0B5C9B}" srcOrd="0" destOrd="0" presId="urn:microsoft.com/office/officeart/2005/8/layout/orgChart1"/>
    <dgm:cxn modelId="{212B399C-28E2-4176-B876-9DA7347A98E5}" type="presOf" srcId="{7CE8175F-BCF0-4B92-A842-728EC78F57D8}" destId="{D80FB876-3642-4FE6-B768-C498CB2DC45B}" srcOrd="0" destOrd="0" presId="urn:microsoft.com/office/officeart/2005/8/layout/orgChart1"/>
    <dgm:cxn modelId="{6A74A6FC-7F44-4BEB-8EDF-3900D399FFBB}" type="presOf" srcId="{D9A67AE4-4575-43B7-A6F3-0BD58EA221F0}" destId="{4647B7EA-AC87-4476-9537-D181D7693287}" srcOrd="0" destOrd="0" presId="urn:microsoft.com/office/officeart/2005/8/layout/orgChart1"/>
    <dgm:cxn modelId="{B1D1688D-4466-4F1B-928C-F4D69820F628}" type="presOf" srcId="{8B3B7F3F-9569-4813-B483-35B81A80F496}" destId="{78EE5F20-2D72-4F04-BE3F-8283CA4EB390}" srcOrd="0" destOrd="0" presId="urn:microsoft.com/office/officeart/2005/8/layout/orgChart1"/>
    <dgm:cxn modelId="{0DFC5457-C539-4339-BB3F-CF4545C5A9C3}" srcId="{AEA21CE9-A7A8-4EE0-8D08-C3300B5032C0}" destId="{D9A67AE4-4575-43B7-A6F3-0BD58EA221F0}" srcOrd="0" destOrd="0" parTransId="{39C1069B-DA89-4843-9365-C76A128E71C3}" sibTransId="{396C6420-8006-4594-B3E6-C40C0F01C177}"/>
    <dgm:cxn modelId="{87F18738-F3EE-4F20-8A2F-988E2707B71F}" srcId="{C210B5A7-FC8F-4CFB-888B-78A66105B5E3}" destId="{6FFB1031-0A73-4469-BCC7-5B3640D26945}" srcOrd="6" destOrd="0" parTransId="{53973304-1394-4263-9745-1D093A3A9643}" sibTransId="{2B6001BC-975C-47B4-A3DF-5D8858B4F017}"/>
    <dgm:cxn modelId="{B96B68F2-CEF3-4CDE-8464-C42394B5A534}" type="presOf" srcId="{3DAC40A4-5971-441F-9133-8187AFA97BC7}" destId="{D8734DF8-E79C-44E6-9764-7B2B826E2D1C}" srcOrd="0" destOrd="0" presId="urn:microsoft.com/office/officeart/2005/8/layout/orgChart1"/>
    <dgm:cxn modelId="{991B5853-409E-483E-886D-8F424D5A0559}" type="presOf" srcId="{7741473B-E186-4580-BC20-E482C22F84BC}" destId="{3D806196-A09E-42B6-89DA-5DE151B649CC}" srcOrd="0" destOrd="0" presId="urn:microsoft.com/office/officeart/2005/8/layout/orgChart1"/>
    <dgm:cxn modelId="{57BCE029-C237-4BBB-8AD9-D74579603702}" type="presOf" srcId="{2D341EAF-8E02-4FFB-8BC7-8E749BCA3386}" destId="{889AFA51-C7BD-4939-911F-CB1271EB2AF8}" srcOrd="0" destOrd="0" presId="urn:microsoft.com/office/officeart/2005/8/layout/orgChart1"/>
    <dgm:cxn modelId="{1FA7E189-67F7-4787-9D1A-C5E4B2ED2822}" srcId="{17012AFC-D3C1-4556-BCA0-69E7EF7D426B}" destId="{795D8047-9602-4F28-A46F-427EBC32A9A5}" srcOrd="5" destOrd="0" parTransId="{BFBB2B3E-EE3E-4352-9F16-33C8D905B52C}" sibTransId="{B3E21C83-25C8-42D8-8632-98FE330468CD}"/>
    <dgm:cxn modelId="{F15884FA-C5EF-4E25-A463-0D5084EB2D79}" type="presOf" srcId="{5E41AA33-18C8-4417-B53F-484A14595051}" destId="{0964CB70-41C0-4F29-B83E-AE1B76280125}" srcOrd="0" destOrd="0" presId="urn:microsoft.com/office/officeart/2005/8/layout/orgChart1"/>
    <dgm:cxn modelId="{B82820CA-B569-4FCD-AF8B-13796FC33CD6}" srcId="{3FA8E52E-41A8-4B79-88F3-ABDEBF17CD17}" destId="{AC209003-8BA6-44DF-A8F6-9D2C5C73FF0B}" srcOrd="5" destOrd="0" parTransId="{E6B68188-F1B4-4DE3-B26E-C5597DBA8B4B}" sibTransId="{AC6B0107-A7F4-48CD-AA7A-25D3230F9343}"/>
    <dgm:cxn modelId="{C871F469-40D4-4CB6-ADC2-67508EE7EE84}" type="presOf" srcId="{AEA21CE9-A7A8-4EE0-8D08-C3300B5032C0}" destId="{C80C8456-3BBA-45FD-AD23-3C06B4C3CF8C}" srcOrd="0" destOrd="0" presId="urn:microsoft.com/office/officeart/2005/8/layout/orgChart1"/>
    <dgm:cxn modelId="{E9F9C4C2-E5FC-4C13-98EF-8609CD093583}" type="presOf" srcId="{3FA8E52E-41A8-4B79-88F3-ABDEBF17CD17}" destId="{9A3B73B8-A734-4DA9-B323-C843A6C97FD7}" srcOrd="1" destOrd="0" presId="urn:microsoft.com/office/officeart/2005/8/layout/orgChart1"/>
    <dgm:cxn modelId="{811EED98-5FC2-4241-944E-249BAD2455D2}" type="presOf" srcId="{FD01D34D-5E0D-46CB-A169-082DA7DAD974}" destId="{DE8D8668-96E8-4FBC-8F48-E04927E8AF75}" srcOrd="0" destOrd="0" presId="urn:microsoft.com/office/officeart/2005/8/layout/orgChart1"/>
    <dgm:cxn modelId="{0639ECC9-F22C-4146-BC47-4FE9A0735F60}" type="presOf" srcId="{772FF846-B977-4229-8998-FD334892F6D6}" destId="{FCD4C20C-521F-4545-939A-8A7799913E93}" srcOrd="0" destOrd="0" presId="urn:microsoft.com/office/officeart/2005/8/layout/orgChart1"/>
    <dgm:cxn modelId="{10E99C9B-1FEC-4649-89FD-492306D980A7}" type="presOf" srcId="{2758B6C3-6786-4A0A-94BA-3C0B87000D62}" destId="{3AC870FB-C26A-455D-A787-26FB8A768500}" srcOrd="0" destOrd="0" presId="urn:microsoft.com/office/officeart/2005/8/layout/orgChart1"/>
    <dgm:cxn modelId="{F3C32E4C-5A51-4406-BA74-1A2339D8031A}" srcId="{C210B5A7-FC8F-4CFB-888B-78A66105B5E3}" destId="{AD9B6B29-76D5-426B-93B6-5BFE62AB229B}" srcOrd="5" destOrd="0" parTransId="{84939823-9C1A-4A52-8238-B36504B8A531}" sibTransId="{15659702-21A2-4FE5-A2E5-6D94C072E3B4}"/>
    <dgm:cxn modelId="{5FA323F9-CAA9-41A7-A63C-7FF5DB4341EF}" type="presOf" srcId="{32925A20-E0E2-491B-BCB4-1CACA4A7DB4F}" destId="{9185C20B-3F53-4B76-A66A-573CD6C3DBE0}" srcOrd="0" destOrd="0" presId="urn:microsoft.com/office/officeart/2005/8/layout/orgChart1"/>
    <dgm:cxn modelId="{A60F9E30-B506-47A0-BAEA-D359B6B9B076}" type="presOf" srcId="{AC209003-8BA6-44DF-A8F6-9D2C5C73FF0B}" destId="{6FCF4D04-EFDA-413E-8BA0-F4AD778E5115}" srcOrd="1" destOrd="0" presId="urn:microsoft.com/office/officeart/2005/8/layout/orgChart1"/>
    <dgm:cxn modelId="{03EDB026-4849-42F0-BD04-8698AAC474B8}" type="presOf" srcId="{772FF846-B977-4229-8998-FD334892F6D6}" destId="{7095D4F8-1C8A-4F9A-9B63-236944966ED1}" srcOrd="1" destOrd="0" presId="urn:microsoft.com/office/officeart/2005/8/layout/orgChart1"/>
    <dgm:cxn modelId="{1FEE98AD-302A-464E-9424-91CBD82BCB05}" type="presOf" srcId="{A67701C2-2154-49A9-AEE7-642B0F6E0EDA}" destId="{EA59485D-2E2F-42CB-B81B-A0E1E3EA3A1C}" srcOrd="0" destOrd="0" presId="urn:microsoft.com/office/officeart/2005/8/layout/orgChart1"/>
    <dgm:cxn modelId="{5C1491FB-FAAC-4B04-9F9E-48D63CAF10F1}" type="presOf" srcId="{53973304-1394-4263-9745-1D093A3A9643}" destId="{EDD6B248-4CEB-4654-9033-ED2BD107A221}" srcOrd="0" destOrd="0" presId="urn:microsoft.com/office/officeart/2005/8/layout/orgChart1"/>
    <dgm:cxn modelId="{BF4EEE1F-C2AA-4C8F-B9CE-1D06C5065497}" type="presOf" srcId="{4A2B5A49-02C5-4CAF-B182-FD73BC39F0B6}" destId="{439D2B84-4BEE-4138-999D-519850687B31}" srcOrd="1" destOrd="0" presId="urn:microsoft.com/office/officeart/2005/8/layout/orgChart1"/>
    <dgm:cxn modelId="{A88F9913-E2B8-486B-A75B-090DAC1C2D0B}" type="presOf" srcId="{AEF99AFC-BCE6-483A-9DBF-D4311D315409}" destId="{1278BCC9-713A-42EA-B5C7-590514CE77EA}" srcOrd="1" destOrd="0" presId="urn:microsoft.com/office/officeart/2005/8/layout/orgChart1"/>
    <dgm:cxn modelId="{E0866CA7-B5CC-4384-A478-BFC9397B67B6}" type="presOf" srcId="{6FFB1031-0A73-4469-BCC7-5B3640D26945}" destId="{830D38BF-6282-47C5-BAC0-DF00893C467F}" srcOrd="0" destOrd="0" presId="urn:microsoft.com/office/officeart/2005/8/layout/orgChart1"/>
    <dgm:cxn modelId="{0CC1A2B0-C596-480B-9037-6F1BA0B07793}" type="presOf" srcId="{FF33382B-89C8-4B25-8169-CD7550BE112E}" destId="{C981F861-5079-4644-BDF7-785B038AC3AD}" srcOrd="0" destOrd="0" presId="urn:microsoft.com/office/officeart/2005/8/layout/orgChart1"/>
    <dgm:cxn modelId="{D6D55075-D9DC-4294-8AC4-BCF28CDBA174}" type="presOf" srcId="{D9A67AE4-4575-43B7-A6F3-0BD58EA221F0}" destId="{11C8C23B-B493-47C5-9205-B34A41C8E805}" srcOrd="1" destOrd="0" presId="urn:microsoft.com/office/officeart/2005/8/layout/orgChart1"/>
    <dgm:cxn modelId="{62646334-7395-4CBC-8229-9B30075783B3}" type="presOf" srcId="{D6F17EA9-E082-43E6-9D65-85C43DB9E61E}" destId="{0E40AEC0-2671-423A-8A47-DC6E1E2C8277}" srcOrd="0" destOrd="0" presId="urn:microsoft.com/office/officeart/2005/8/layout/orgChart1"/>
    <dgm:cxn modelId="{50B9BF52-DC7F-4486-A63D-688D43797D59}" srcId="{17012AFC-D3C1-4556-BCA0-69E7EF7D426B}" destId="{7040D635-CE3C-4D39-B00B-23C0DAD01902}" srcOrd="2" destOrd="0" parTransId="{36E96AA5-58BD-4463-8AC7-C7605675329D}" sibTransId="{4DB320F3-DA54-426D-95BE-7952EFF35D61}"/>
    <dgm:cxn modelId="{DA7DC59D-0810-43E4-97F1-CED9204E27D4}" type="presOf" srcId="{795D8047-9602-4F28-A46F-427EBC32A9A5}" destId="{FDBEDC48-7610-4008-971F-97F33921F3AB}" srcOrd="0" destOrd="0" presId="urn:microsoft.com/office/officeart/2005/8/layout/orgChart1"/>
    <dgm:cxn modelId="{2CA59D98-A57E-40DB-862D-332DD9FE11FB}" srcId="{17012AFC-D3C1-4556-BCA0-69E7EF7D426B}" destId="{E9A975ED-C728-4E64-B90E-4B505F6C90B9}" srcOrd="3" destOrd="0" parTransId="{97E78FE5-005F-480B-ADDD-02C500177BBA}" sibTransId="{BD353001-6067-4889-B0B0-5C7A4C228A3C}"/>
    <dgm:cxn modelId="{08BF7DC3-15BE-404E-9EFB-7C50D9C07D2F}" srcId="{C210B5A7-FC8F-4CFB-888B-78A66105B5E3}" destId="{772FF846-B977-4229-8998-FD334892F6D6}" srcOrd="7" destOrd="0" parTransId="{64F965F4-0063-4154-85F6-3E001459EE1E}" sibTransId="{CAC25007-4073-4055-B964-CEFD35EB0825}"/>
    <dgm:cxn modelId="{467C364E-9838-49F4-9F35-ECD25A5FC087}" type="presOf" srcId="{AD30EE2C-612E-4D7A-9A9D-63748E547A4E}" destId="{E2C6E8CA-49E0-4ED9-8590-8C6DE8D745C9}" srcOrd="0" destOrd="0" presId="urn:microsoft.com/office/officeart/2005/8/layout/orgChart1"/>
    <dgm:cxn modelId="{DB489E4C-C90C-4840-985F-17310D7F7C89}" type="presOf" srcId="{6FA0B268-20E6-499D-A943-270BC5C30AC9}" destId="{8912F301-E950-4E0C-B146-0A5185F9A67F}" srcOrd="0" destOrd="0" presId="urn:microsoft.com/office/officeart/2005/8/layout/orgChart1"/>
    <dgm:cxn modelId="{66D1CB44-4610-42F1-91AA-35A3C15028CB}" srcId="{D9A67AE4-4575-43B7-A6F3-0BD58EA221F0}" destId="{17012AFC-D3C1-4556-BCA0-69E7EF7D426B}" srcOrd="3" destOrd="0" parTransId="{D3AB7F58-C8BD-4F52-BA48-1335ECA51BF3}" sibTransId="{2891E821-653F-4013-91DF-F4C272A737E3}"/>
    <dgm:cxn modelId="{B126843D-A992-4ADE-ADBE-63EFC442FB5A}" type="presOf" srcId="{C86C1488-BD31-4F23-97DB-7C2B89FF3AD9}" destId="{16194040-5E60-434D-BF92-83FD3BBE53B9}" srcOrd="0" destOrd="0" presId="urn:microsoft.com/office/officeart/2005/8/layout/orgChart1"/>
    <dgm:cxn modelId="{8A26F197-1FBF-41EA-A8C2-AEB8492FF154}" type="presOf" srcId="{B0DC9A8E-7A12-4BF0-8A96-882866292D90}" destId="{59553AB9-15C6-41A5-86D0-0A8B70218E8B}" srcOrd="0" destOrd="0" presId="urn:microsoft.com/office/officeart/2005/8/layout/orgChart1"/>
    <dgm:cxn modelId="{D620C2D2-A93A-4291-AB41-C4C4272825DC}" srcId="{C210B5A7-FC8F-4CFB-888B-78A66105B5E3}" destId="{D6F17EA9-E082-43E6-9D65-85C43DB9E61E}" srcOrd="3" destOrd="0" parTransId="{9E6D193C-AE2E-4C60-B40E-8A836963A6ED}" sibTransId="{C6072D5B-B209-4632-BF6C-A85AFBA9582B}"/>
    <dgm:cxn modelId="{A8AB89FF-6CAF-4097-8F35-AB699A81A9E0}" type="presOf" srcId="{C210B5A7-FC8F-4CFB-888B-78A66105B5E3}" destId="{C633A689-B769-440B-A61E-472B58BC51D4}" srcOrd="0" destOrd="0" presId="urn:microsoft.com/office/officeart/2005/8/layout/orgChart1"/>
    <dgm:cxn modelId="{34619154-2874-42E1-B530-942BF7DE9588}" srcId="{D9A67AE4-4575-43B7-A6F3-0BD58EA221F0}" destId="{3FA8E52E-41A8-4B79-88F3-ABDEBF17CD17}" srcOrd="0" destOrd="0" parTransId="{3DAC40A4-5971-441F-9133-8187AFA97BC7}" sibTransId="{C6B1D5F1-D291-4575-A8D3-D12B8411F8B8}"/>
    <dgm:cxn modelId="{C6A1C7E4-1B26-4596-9A32-BDD82FF7DC24}" type="presOf" srcId="{9002187A-E2EC-4717-831E-102A4221D70E}" destId="{AC80687D-CE89-4BFB-A0CD-895A4C091F36}" srcOrd="1" destOrd="0" presId="urn:microsoft.com/office/officeart/2005/8/layout/orgChart1"/>
    <dgm:cxn modelId="{91012BAE-9EBD-4BF7-93E6-99A6667426E1}" type="presOf" srcId="{2D341EAF-8E02-4FFB-8BC7-8E749BCA3386}" destId="{A98729FF-77F6-46B8-967E-2555C25F663E}" srcOrd="1" destOrd="0" presId="urn:microsoft.com/office/officeart/2005/8/layout/orgChart1"/>
    <dgm:cxn modelId="{3FBB9C6C-2B61-4A11-AB8A-38036E483255}" type="presOf" srcId="{D6F17EA9-E082-43E6-9D65-85C43DB9E61E}" destId="{0415C0B4-BF22-4E0A-9719-027F6097DCDD}" srcOrd="1" destOrd="0" presId="urn:microsoft.com/office/officeart/2005/8/layout/orgChart1"/>
    <dgm:cxn modelId="{3BA6B1A4-DD46-4EC4-89EB-696660C6E425}" srcId="{17012AFC-D3C1-4556-BCA0-69E7EF7D426B}" destId="{9002187A-E2EC-4717-831E-102A4221D70E}" srcOrd="4" destOrd="0" parTransId="{4C075103-1FAA-4D49-8304-A018805FFDE8}" sibTransId="{1E658E4A-AB82-4D65-AA86-17D4B91A0032}"/>
    <dgm:cxn modelId="{FFE56686-CF77-4990-8FC8-B17B0A6C1C82}" srcId="{4A2B5A49-02C5-4CAF-B182-FD73BC39F0B6}" destId="{2D341EAF-8E02-4FFB-8BC7-8E749BCA3386}" srcOrd="0" destOrd="0" parTransId="{0501E4C1-E7FE-472A-A140-201BB0837341}" sibTransId="{A8B58A40-33F2-49FA-A4B6-8B1E6A3D8248}"/>
    <dgm:cxn modelId="{3ABDE919-C484-4802-BFCC-12224BF99B91}" type="presOf" srcId="{BB821B91-6134-47D8-8488-D39B8F6FB9F5}" destId="{FC2A0575-63FD-4437-9846-05FE755CCA4D}" srcOrd="0" destOrd="0" presId="urn:microsoft.com/office/officeart/2005/8/layout/orgChart1"/>
    <dgm:cxn modelId="{E2F8385E-7490-496F-970E-A01BBCC560C6}" type="presOf" srcId="{2E1B0A68-5385-427D-BCDA-B3B9911E240A}" destId="{3B1825C6-1AEF-462F-A1CD-79B8796D71BF}" srcOrd="0" destOrd="0" presId="urn:microsoft.com/office/officeart/2005/8/layout/orgChart1"/>
    <dgm:cxn modelId="{02B5E26E-A09D-4F93-9BA8-0895702893F3}" type="presOf" srcId="{7741473B-E186-4580-BC20-E482C22F84BC}" destId="{267C9922-0B84-4AEE-9817-7077676D94D7}" srcOrd="1" destOrd="0" presId="urn:microsoft.com/office/officeart/2005/8/layout/orgChart1"/>
    <dgm:cxn modelId="{3EF865D1-6B42-40F6-99EC-0AD05513E706}" type="presOf" srcId="{128CD2A8-559B-42A1-B1A9-0396AC1A0AFE}" destId="{C18432C2-F5A3-442A-9977-38AEE04F13DD}" srcOrd="0" destOrd="0" presId="urn:microsoft.com/office/officeart/2005/8/layout/orgChart1"/>
    <dgm:cxn modelId="{9820CA1E-1691-47FA-A880-ED1D5CB29D1B}" srcId="{4A2B5A49-02C5-4CAF-B182-FD73BC39F0B6}" destId="{AEF99AFC-BCE6-483A-9DBF-D4311D315409}" srcOrd="1" destOrd="0" parTransId="{23C38686-FC84-49F1-B747-F325F35C7D06}" sibTransId="{944BA3E3-A7DB-42E6-BE3A-27FE8324A05A}"/>
    <dgm:cxn modelId="{B0079D03-EF6F-4CC7-A8CF-C7D74BABF3D6}" type="presOf" srcId="{AC209003-8BA6-44DF-A8F6-9D2C5C73FF0B}" destId="{4C1F4693-C8EA-4D49-A3D3-8D6D9A6A79CE}" srcOrd="0" destOrd="0" presId="urn:microsoft.com/office/officeart/2005/8/layout/orgChart1"/>
    <dgm:cxn modelId="{56FF17F3-3518-4ECE-AD1D-04E9C1CB8F81}" type="presOf" srcId="{E59C7045-2EF3-4659-8457-FC2DC2C82928}" destId="{E846EEA4-3606-4E73-993D-7A44D043C02F}" srcOrd="1" destOrd="0" presId="urn:microsoft.com/office/officeart/2005/8/layout/orgChart1"/>
    <dgm:cxn modelId="{D0062AA8-552C-49FE-A97F-E5EB820EF86E}" type="presOf" srcId="{7520F216-6A93-4900-B03B-1CAE7FDB300B}" destId="{04410A4D-7DCC-4946-8471-DFD4EE5F71CD}" srcOrd="0" destOrd="0" presId="urn:microsoft.com/office/officeart/2005/8/layout/orgChart1"/>
    <dgm:cxn modelId="{071DD47F-D68C-4FAF-8665-B0ABCD09F053}" type="presOf" srcId="{4A2B5A49-02C5-4CAF-B182-FD73BC39F0B6}" destId="{A1A7E265-6B33-4908-BF5C-D6CD576CE0F9}" srcOrd="0" destOrd="0" presId="urn:microsoft.com/office/officeart/2005/8/layout/orgChart1"/>
    <dgm:cxn modelId="{4E6399EB-2FD3-440D-9BCE-DC209E02EC86}" type="presOf" srcId="{E6B68188-F1B4-4DE3-B26E-C5597DBA8B4B}" destId="{EB7A51C9-2A3B-4023-940F-7A577F808009}" srcOrd="0" destOrd="0" presId="urn:microsoft.com/office/officeart/2005/8/layout/orgChart1"/>
    <dgm:cxn modelId="{733ADDA3-CB6E-4D0C-9B69-02ACFF742EFD}" type="presOf" srcId="{DE6CB324-04C8-4039-A4A1-2D784450FD41}" destId="{8315F59C-535C-41A3-9977-47ED97AB1D59}" srcOrd="1" destOrd="0" presId="urn:microsoft.com/office/officeart/2005/8/layout/orgChart1"/>
    <dgm:cxn modelId="{4D0D2DBF-09D6-4DEC-9CC7-E883F97C5197}" srcId="{3FA8E52E-41A8-4B79-88F3-ABDEBF17CD17}" destId="{2F5C0CB3-A347-4DB6-A843-8920EBFA59B6}" srcOrd="2" destOrd="0" parTransId="{6FA0B268-20E6-499D-A943-270BC5C30AC9}" sibTransId="{677BD7D6-19D5-4D7B-8449-37BF39C7EDD8}"/>
    <dgm:cxn modelId="{DB07A577-4266-4816-BD25-988C358F3A7D}" type="presOf" srcId="{EF5E585F-3673-4CC4-9E22-D48DF4FE27E6}" destId="{1E6F7728-0201-4A15-AC95-CC7E377B1A72}" srcOrd="0" destOrd="0" presId="urn:microsoft.com/office/officeart/2005/8/layout/orgChart1"/>
    <dgm:cxn modelId="{ED9D0612-45CF-4E86-AB6E-2186EAFFD25C}" type="presOf" srcId="{4F00BF85-AC72-481D-BE7B-D4C9F900999E}" destId="{6525961F-8FBD-4859-8DE6-CC029265436B}" srcOrd="0" destOrd="0" presId="urn:microsoft.com/office/officeart/2005/8/layout/orgChart1"/>
    <dgm:cxn modelId="{99A4A3D9-0706-4802-B7DD-1D22CCF2DC8C}" type="presOf" srcId="{AEF99AFC-BCE6-483A-9DBF-D4311D315409}" destId="{5566157D-149C-460F-97F5-CE2E5214442B}" srcOrd="0" destOrd="0" presId="urn:microsoft.com/office/officeart/2005/8/layout/orgChart1"/>
    <dgm:cxn modelId="{FE961183-BE76-4E58-8C1E-9E8A037B68BD}" type="presOf" srcId="{7040D635-CE3C-4D39-B00B-23C0DAD01902}" destId="{77C70671-18DE-43E8-BF2F-71650C01E492}" srcOrd="1" destOrd="0" presId="urn:microsoft.com/office/officeart/2005/8/layout/orgChart1"/>
    <dgm:cxn modelId="{45E1A0CA-4E1D-4841-A225-CB0DBCE16742}" type="presOf" srcId="{4D12AA29-479B-49C6-9FF2-D77C0C9C8CC6}" destId="{DF2A5BDB-731B-4743-8645-30CC461A515D}" srcOrd="0" destOrd="0" presId="urn:microsoft.com/office/officeart/2005/8/layout/orgChart1"/>
    <dgm:cxn modelId="{5955092D-3D5D-4A47-A9F2-15D5112DA505}" srcId="{3FA8E52E-41A8-4B79-88F3-ABDEBF17CD17}" destId="{7741473B-E186-4580-BC20-E482C22F84BC}" srcOrd="4" destOrd="0" parTransId="{AD30EE2C-612E-4D7A-9A9D-63748E547A4E}" sibTransId="{6C4AD7F0-8C67-48D0-A127-C28309A053BC}"/>
    <dgm:cxn modelId="{FC0823EC-4766-449F-861F-CF2907D019BF}" type="presOf" srcId="{8B3B7F3F-9569-4813-B483-35B81A80F496}" destId="{AF9B3472-43A8-400D-9CD2-962F2F9B4648}" srcOrd="1" destOrd="0" presId="urn:microsoft.com/office/officeart/2005/8/layout/orgChart1"/>
    <dgm:cxn modelId="{9F1D5924-C32C-4F97-AA02-CC2AC96CB33B}" type="presOf" srcId="{D3AB7F58-C8BD-4F52-BA48-1335ECA51BF3}" destId="{52E9BC89-FDF8-438D-A60C-DC48E0884547}" srcOrd="0" destOrd="0" presId="urn:microsoft.com/office/officeart/2005/8/layout/orgChart1"/>
    <dgm:cxn modelId="{8538DA7A-D9DC-48FE-9D2B-4910C7BE01BA}" type="presOf" srcId="{07A97D4C-A6EA-472B-B9F4-9A14FB6975E8}" destId="{40F4D01A-1074-4751-950A-F4647C147244}" srcOrd="1" destOrd="0" presId="urn:microsoft.com/office/officeart/2005/8/layout/orgChart1"/>
    <dgm:cxn modelId="{323A174D-A943-481C-AA12-3A02F0E37880}" srcId="{C210B5A7-FC8F-4CFB-888B-78A66105B5E3}" destId="{A67701C2-2154-49A9-AEE7-642B0F6E0EDA}" srcOrd="4" destOrd="0" parTransId="{68FB7B31-DBFA-4E20-A5A9-242EBD808708}" sibTransId="{DE5C4C84-FC53-429E-B431-54377B1406F5}"/>
    <dgm:cxn modelId="{D2291D8C-8493-4C4C-8274-53869A976068}" type="presOf" srcId="{4C075103-1FAA-4D49-8304-A018805FFDE8}" destId="{33F05970-CE5A-4B8F-B2ED-821CE72425D7}" srcOrd="0" destOrd="0" presId="urn:microsoft.com/office/officeart/2005/8/layout/orgChart1"/>
    <dgm:cxn modelId="{16BC10D6-CC52-4FFC-92AA-0568F268877C}" type="presOf" srcId="{17012AFC-D3C1-4556-BCA0-69E7EF7D426B}" destId="{8A30A787-B8DD-468A-B6C4-47C9516B39E9}" srcOrd="1" destOrd="0" presId="urn:microsoft.com/office/officeart/2005/8/layout/orgChart1"/>
    <dgm:cxn modelId="{49A0F23E-EE66-4463-8AD4-CC41B4FEDA7B}" type="presOf" srcId="{DE6CB324-04C8-4039-A4A1-2D784450FD41}" destId="{B831C22F-984D-4917-BB77-DA19C75E8EEC}" srcOrd="0" destOrd="0" presId="urn:microsoft.com/office/officeart/2005/8/layout/orgChart1"/>
    <dgm:cxn modelId="{45D603B0-02B8-4E1A-B3D2-F43C5881E7D8}" type="presOf" srcId="{9EBBB895-7600-4C5C-AD2A-85DBB7813F37}" destId="{61FA1666-3CB0-4FB2-8C4B-E313F9D14383}" srcOrd="0" destOrd="0" presId="urn:microsoft.com/office/officeart/2005/8/layout/orgChart1"/>
    <dgm:cxn modelId="{B59B3A00-33BF-4647-9CEA-23F5A8DE45FE}" type="presOf" srcId="{6FB800BF-C0D2-4431-90AD-DB6C6F916073}" destId="{748B4E46-BCEA-4B90-9F45-8240389CE2F0}" srcOrd="0" destOrd="0" presId="urn:microsoft.com/office/officeart/2005/8/layout/orgChart1"/>
    <dgm:cxn modelId="{562B7E2C-2A62-49B0-8E49-AECF8163D3F1}" type="presOf" srcId="{9002187A-E2EC-4717-831E-102A4221D70E}" destId="{66F06CE1-3BB0-4A85-8D70-A149B82E3BB3}" srcOrd="0" destOrd="0" presId="urn:microsoft.com/office/officeart/2005/8/layout/orgChart1"/>
    <dgm:cxn modelId="{BBA86DD5-1742-4C9F-84A2-5D74CDCEEAB2}" srcId="{C210B5A7-FC8F-4CFB-888B-78A66105B5E3}" destId="{9EBBB895-7600-4C5C-AD2A-85DBB7813F37}" srcOrd="9" destOrd="0" parTransId="{862E5178-4EA9-49DF-9E29-89AA5E3C5029}" sibTransId="{BF217296-EF35-4EE0-873D-C5A079B5430C}"/>
    <dgm:cxn modelId="{468FF2BB-E1C3-4CD4-B67B-2451D1EC86C0}" type="presOf" srcId="{4F00BF85-AC72-481D-BE7B-D4C9F900999E}" destId="{74A4E3A4-EC91-46B0-B939-76D9B05E6BDA}" srcOrd="1" destOrd="0" presId="urn:microsoft.com/office/officeart/2005/8/layout/orgChart1"/>
    <dgm:cxn modelId="{AD66756E-387C-4963-A62D-6D513DB564F1}" type="presOf" srcId="{C210B5A7-FC8F-4CFB-888B-78A66105B5E3}" destId="{BBF4301C-272D-4A88-904A-92188D17DA3C}" srcOrd="1" destOrd="0" presId="urn:microsoft.com/office/officeart/2005/8/layout/orgChart1"/>
    <dgm:cxn modelId="{2A8391C1-2B9C-4C39-B0CB-2798343BA283}" type="presOf" srcId="{32925A20-E0E2-491B-BCB4-1CACA4A7DB4F}" destId="{F7DFF23A-F7C5-477C-B4A9-B17D28FAD8AD}" srcOrd="1" destOrd="0" presId="urn:microsoft.com/office/officeart/2005/8/layout/orgChart1"/>
    <dgm:cxn modelId="{A65A8AEA-D05E-473D-A4EB-F93C103CEF09}" type="presOf" srcId="{23C38686-FC84-49F1-B747-F325F35C7D06}" destId="{24EA762B-4AE4-49BB-ACA9-F208C93443F3}" srcOrd="0" destOrd="0" presId="urn:microsoft.com/office/officeart/2005/8/layout/orgChart1"/>
    <dgm:cxn modelId="{6116EAD5-B813-417C-9C8C-438277F0CE80}" type="presOf" srcId="{17012AFC-D3C1-4556-BCA0-69E7EF7D426B}" destId="{2034BB97-76EC-478B-8B14-7267569BC1AA}" srcOrd="0" destOrd="0" presId="urn:microsoft.com/office/officeart/2005/8/layout/orgChart1"/>
    <dgm:cxn modelId="{C2BE5E4E-405B-4A59-95CB-3DCD0D28CE5A}" type="presOf" srcId="{2F5C0CB3-A347-4DB6-A843-8920EBFA59B6}" destId="{EED161AF-40AD-43B2-8B46-38DF36ECA8B3}" srcOrd="1" destOrd="0" presId="urn:microsoft.com/office/officeart/2005/8/layout/orgChart1"/>
    <dgm:cxn modelId="{2B63AC09-632F-4C51-AE44-3C2447233242}" type="presOf" srcId="{E506AFA8-1B82-43BC-98C8-F80DC54DD35B}" destId="{AD2E7CCF-8632-48BA-AB5F-38D672160CB7}" srcOrd="0" destOrd="0" presId="urn:microsoft.com/office/officeart/2005/8/layout/orgChart1"/>
    <dgm:cxn modelId="{5E05D01C-86C1-4D78-9891-28D3BB9C2A58}" srcId="{C210B5A7-FC8F-4CFB-888B-78A66105B5E3}" destId="{DB7FB121-89FA-4FDA-BA06-6EB92D692684}" srcOrd="1" destOrd="0" parTransId="{FD01D34D-5E0D-46CB-A169-082DA7DAD974}" sibTransId="{DD9AF56D-050C-4FCF-866D-9181CC568B13}"/>
    <dgm:cxn modelId="{93956789-869B-4A0C-8FEB-6227D86309E4}" type="presOf" srcId="{7040D635-CE3C-4D39-B00B-23C0DAD01902}" destId="{C2E3C8C2-963F-46A6-A733-D84654932C5D}" srcOrd="0" destOrd="0" presId="urn:microsoft.com/office/officeart/2005/8/layout/orgChart1"/>
    <dgm:cxn modelId="{BA801A0C-ED0F-49DC-9AA5-9BB3E569C220}" type="presOf" srcId="{07A97D4C-A6EA-472B-B9F4-9A14FB6975E8}" destId="{84973679-6F82-4ED4-A935-CA4A0FD0F148}" srcOrd="0" destOrd="0" presId="urn:microsoft.com/office/officeart/2005/8/layout/orgChart1"/>
    <dgm:cxn modelId="{EA410164-073A-4AF7-9B2F-FCAD0AC48700}" type="presOf" srcId="{DB7FB121-89FA-4FDA-BA06-6EB92D692684}" destId="{F613A01D-7200-4858-BD85-9D67C40E7C98}" srcOrd="1" destOrd="0" presId="urn:microsoft.com/office/officeart/2005/8/layout/orgChart1"/>
    <dgm:cxn modelId="{8FF6EEB0-601C-4924-9580-3407FA235C4D}" type="presOf" srcId="{64F965F4-0063-4154-85F6-3E001459EE1E}" destId="{5FAD3576-45D6-41B4-8CB0-E188125E4354}" srcOrd="0" destOrd="0" presId="urn:microsoft.com/office/officeart/2005/8/layout/orgChart1"/>
    <dgm:cxn modelId="{B23E0404-36F3-4966-A642-DB1306FE8967}" type="presOf" srcId="{7CE8175F-BCF0-4B92-A842-728EC78F57D8}" destId="{342F66C1-B350-4FB9-B560-508F7697197D}" srcOrd="1" destOrd="0" presId="urn:microsoft.com/office/officeart/2005/8/layout/orgChart1"/>
    <dgm:cxn modelId="{7427D6B0-4F3F-4155-997E-8626F5BC3121}" type="presOf" srcId="{97E78FE5-005F-480B-ADDD-02C500177BBA}" destId="{A60D6A16-F6F3-469C-998A-AD9746314B50}" srcOrd="0" destOrd="0" presId="urn:microsoft.com/office/officeart/2005/8/layout/orgChart1"/>
    <dgm:cxn modelId="{B8C33AC4-00B7-4DCD-91EA-89FFC32B8DA9}" type="presOf" srcId="{3FA8E52E-41A8-4B79-88F3-ABDEBF17CD17}" destId="{B7CC506E-76AA-4F38-A791-F42D4C7CADF8}" srcOrd="0" destOrd="0" presId="urn:microsoft.com/office/officeart/2005/8/layout/orgChart1"/>
    <dgm:cxn modelId="{3897AA0E-8049-4DC7-B0B6-A3DCB6A56FD6}" type="presOf" srcId="{3E8566DB-3FD9-4E15-964E-6C880A5BB489}" destId="{47EA5480-D883-4F10-85FC-3C1C11868AAB}" srcOrd="0" destOrd="0" presId="urn:microsoft.com/office/officeart/2005/8/layout/orgChart1"/>
    <dgm:cxn modelId="{2700AB8F-7550-49FF-83E9-C4327BCE6C3E}" type="presOf" srcId="{E9A975ED-C728-4E64-B90E-4B505F6C90B9}" destId="{35745B26-F070-41AC-9DB6-D2575B1469B0}" srcOrd="1" destOrd="0" presId="urn:microsoft.com/office/officeart/2005/8/layout/orgChart1"/>
    <dgm:cxn modelId="{4B3AF09B-29B5-432E-8673-8C6752AB21C7}" srcId="{17012AFC-D3C1-4556-BCA0-69E7EF7D426B}" destId="{7CE8175F-BCF0-4B92-A842-728EC78F57D8}" srcOrd="6" destOrd="0" parTransId="{3E8566DB-3FD9-4E15-964E-6C880A5BB489}" sibTransId="{266FE5F5-DC7C-4293-9928-2DDF57061B31}"/>
    <dgm:cxn modelId="{41DC3BDF-1547-4112-BA11-56902743FF8D}" srcId="{4A2B5A49-02C5-4CAF-B182-FD73BC39F0B6}" destId="{32925A20-E0E2-491B-BCB4-1CACA4A7DB4F}" srcOrd="3" destOrd="0" parTransId="{BB821B91-6134-47D8-8488-D39B8F6FB9F5}" sibTransId="{DDFBE557-D867-483E-91FE-2D29EEFD04B9}"/>
    <dgm:cxn modelId="{B22822CB-C5E8-4463-992E-27F49A2A314B}" type="presOf" srcId="{68FB7B31-DBFA-4E20-A5A9-242EBD808708}" destId="{6B9BB72C-C16E-4812-A426-8736B0F4D50D}" srcOrd="0" destOrd="0" presId="urn:microsoft.com/office/officeart/2005/8/layout/orgChart1"/>
    <dgm:cxn modelId="{B0459B3A-1ABF-4509-A4EF-7A15FEBAE576}" type="presOf" srcId="{BFBB2B3E-EE3E-4352-9F16-33C8D905B52C}" destId="{EE5F5FC3-2FC6-4461-ABAA-F66D65415C6E}" srcOrd="0" destOrd="0" presId="urn:microsoft.com/office/officeart/2005/8/layout/orgChart1"/>
    <dgm:cxn modelId="{A6C1F2C0-795E-4802-AF3A-A70ABA04E5A6}" type="presOf" srcId="{9C577F41-001A-42AE-AABF-54268D15A364}" destId="{E69AAF95-112D-4CA3-8B25-A2C1AA2BFB20}" srcOrd="0" destOrd="0" presId="urn:microsoft.com/office/officeart/2005/8/layout/orgChart1"/>
    <dgm:cxn modelId="{7CE4B070-D832-43BE-B048-E7B02A1AFA58}" srcId="{D9A67AE4-4575-43B7-A6F3-0BD58EA221F0}" destId="{C210B5A7-FC8F-4CFB-888B-78A66105B5E3}" srcOrd="1" destOrd="0" parTransId="{C86C1488-BD31-4F23-97DB-7C2B89FF3AD9}" sibTransId="{FFD25E3B-8967-48DE-80D4-340F432E9169}"/>
    <dgm:cxn modelId="{6885DD45-13AB-44B7-AB54-6C72A971BB4C}" type="presOf" srcId="{E506AFA8-1B82-43BC-98C8-F80DC54DD35B}" destId="{CC4D928E-8FD4-48D7-883D-76404CA06E7E}" srcOrd="1" destOrd="0" presId="urn:microsoft.com/office/officeart/2005/8/layout/orgChart1"/>
    <dgm:cxn modelId="{03795B65-2A80-4416-A0BB-196454772EC6}" type="presOf" srcId="{AD9B6B29-76D5-426B-93B6-5BFE62AB229B}" destId="{69577400-3728-444D-96E5-E59C84094316}" srcOrd="0" destOrd="0" presId="urn:microsoft.com/office/officeart/2005/8/layout/orgChart1"/>
    <dgm:cxn modelId="{8BA5E784-FDA2-4AB6-810B-F2A45C371983}" type="presOf" srcId="{2F5C0CB3-A347-4DB6-A843-8920EBFA59B6}" destId="{68F9805C-8CAE-4938-9623-6375F921F333}" srcOrd="0" destOrd="0" presId="urn:microsoft.com/office/officeart/2005/8/layout/orgChart1"/>
    <dgm:cxn modelId="{F2384894-D370-4515-B0BF-808A23C2EE8D}" type="presOf" srcId="{795D8047-9602-4F28-A46F-427EBC32A9A5}" destId="{8FA4DC7A-1F32-4EBD-B2D2-2B337761960E}" srcOrd="1" destOrd="0" presId="urn:microsoft.com/office/officeart/2005/8/layout/orgChart1"/>
    <dgm:cxn modelId="{85EAF33C-4633-41FA-B74F-C014BB8B8765}" type="presOf" srcId="{36E96AA5-58BD-4463-8AC7-C7605675329D}" destId="{4C665A08-AC56-45D8-8D87-B1C7BBA58F7E}" srcOrd="0" destOrd="0" presId="urn:microsoft.com/office/officeart/2005/8/layout/orgChart1"/>
    <dgm:cxn modelId="{96878499-BCE8-4550-9E8F-EC7CAAEFFED4}" type="presOf" srcId="{2758B6C3-6786-4A0A-94BA-3C0B87000D62}" destId="{E350FF0A-3899-4666-BFBB-4391AE4ED83D}" srcOrd="1" destOrd="0" presId="urn:microsoft.com/office/officeart/2005/8/layout/orgChart1"/>
    <dgm:cxn modelId="{15B14D79-9D12-4039-9189-B36948E4CAA5}" srcId="{4A2B5A49-02C5-4CAF-B182-FD73BC39F0B6}" destId="{07A97D4C-A6EA-472B-B9F4-9A14FB6975E8}" srcOrd="2" destOrd="0" parTransId="{50B3E178-BFC2-4416-AC2A-F7733BD7FD55}" sibTransId="{696D6805-C316-41B5-882F-4C7EE821847B}"/>
    <dgm:cxn modelId="{9A30D166-5DD8-474E-93F7-46A85760579B}" type="presOf" srcId="{7520F216-6A93-4900-B03B-1CAE7FDB300B}" destId="{9D907A16-BA97-49F7-A8E0-04EB9E2BF3A6}" srcOrd="1" destOrd="0" presId="urn:microsoft.com/office/officeart/2005/8/layout/orgChart1"/>
    <dgm:cxn modelId="{694ED9D8-997C-40CB-B2B9-9CA76F6EEBD1}" srcId="{17012AFC-D3C1-4556-BCA0-69E7EF7D426B}" destId="{4F00BF85-AC72-481D-BE7B-D4C9F900999E}" srcOrd="0" destOrd="0" parTransId="{5E41AA33-18C8-4417-B53F-484A14595051}" sibTransId="{282FF86C-1827-4838-A6BF-3FFDB505CF60}"/>
    <dgm:cxn modelId="{557D6E5E-59E9-43D7-8845-F7FB07D1F166}" srcId="{3FA8E52E-41A8-4B79-88F3-ABDEBF17CD17}" destId="{E506AFA8-1B82-43BC-98C8-F80DC54DD35B}" srcOrd="0" destOrd="0" parTransId="{EF5E585F-3673-4CC4-9E22-D48DF4FE27E6}" sibTransId="{1E24B422-6D41-454D-BA4B-D634E2BDF376}"/>
    <dgm:cxn modelId="{A61C9F55-6449-4178-9CC6-F1D3CAA7F97D}" srcId="{C210B5A7-FC8F-4CFB-888B-78A66105B5E3}" destId="{8258131A-64F0-468E-89FA-30CD74677209}" srcOrd="0" destOrd="0" parTransId="{FF33382B-89C8-4B25-8169-CD7550BE112E}" sibTransId="{F2F6720F-1FA0-4D9D-AA63-E6FA9B6536EA}"/>
    <dgm:cxn modelId="{3818A852-7E02-4176-9B23-7070054FD95C}" srcId="{C210B5A7-FC8F-4CFB-888B-78A66105B5E3}" destId="{DE6CB324-04C8-4039-A4A1-2D784450FD41}" srcOrd="8" destOrd="0" parTransId="{128CD2A8-559B-42A1-B1A9-0396AC1A0AFE}" sibTransId="{6F693912-8461-40A5-A0DD-40F146CA405B}"/>
    <dgm:cxn modelId="{BE716421-FFDD-49FC-B7C6-D5D8CD2A8073}" type="presOf" srcId="{E59C7045-2EF3-4659-8457-FC2DC2C82928}" destId="{61B4AA93-0842-4D55-B889-C5D4706F273C}" srcOrd="0" destOrd="0" presId="urn:microsoft.com/office/officeart/2005/8/layout/orgChart1"/>
    <dgm:cxn modelId="{BF4CB82E-61BE-4148-94F8-9F2DD107042B}" type="presOf" srcId="{50B3E178-BFC2-4416-AC2A-F7733BD7FD55}" destId="{5EE41A7C-9A60-4601-9E7F-353EBE225BC6}" srcOrd="0" destOrd="0" presId="urn:microsoft.com/office/officeart/2005/8/layout/orgChart1"/>
    <dgm:cxn modelId="{25D2806F-B49E-47EC-9BA5-D6D37CB1926D}" srcId="{17012AFC-D3C1-4556-BCA0-69E7EF7D426B}" destId="{8B3B7F3F-9569-4813-B483-35B81A80F496}" srcOrd="1" destOrd="0" parTransId="{2E1B0A68-5385-427D-BCDA-B3B9911E240A}" sibTransId="{E0589A92-A73B-4545-A5CA-F7B6316B1541}"/>
    <dgm:cxn modelId="{6510FB4C-3356-47DF-82F9-096A5EACE272}" type="presOf" srcId="{AD9B6B29-76D5-426B-93B6-5BFE62AB229B}" destId="{BAABFAAE-EC69-4E1F-B78D-D84BCDA0D6AD}" srcOrd="1" destOrd="0" presId="urn:microsoft.com/office/officeart/2005/8/layout/orgChart1"/>
    <dgm:cxn modelId="{DEE86E28-500E-40C0-99F2-F7FE05395830}" type="presOf" srcId="{0501E4C1-E7FE-472A-A140-201BB0837341}" destId="{CA3AC0F8-D2DD-45A4-986D-8A7CA3FCA483}" srcOrd="0" destOrd="0" presId="urn:microsoft.com/office/officeart/2005/8/layout/orgChart1"/>
    <dgm:cxn modelId="{9CA45770-1EEA-4FEE-863C-B4868E690F7D}" type="presOf" srcId="{8258131A-64F0-468E-89FA-30CD74677209}" destId="{C52F6E7A-06EB-4ED7-9448-A059B6929A94}" srcOrd="0" destOrd="0" presId="urn:microsoft.com/office/officeart/2005/8/layout/orgChart1"/>
    <dgm:cxn modelId="{889E07D5-B3DA-49CD-A216-C666F0E36142}" srcId="{C210B5A7-FC8F-4CFB-888B-78A66105B5E3}" destId="{7520F216-6A93-4900-B03B-1CAE7FDB300B}" srcOrd="2" destOrd="0" parTransId="{4D12AA29-479B-49C6-9FF2-D77C0C9C8CC6}" sibTransId="{BA27681F-B8E8-4861-83D6-629C56782002}"/>
    <dgm:cxn modelId="{C7DD373B-A265-4E7E-A96E-3F1BC5B5FC3F}" srcId="{D9A67AE4-4575-43B7-A6F3-0BD58EA221F0}" destId="{4A2B5A49-02C5-4CAF-B182-FD73BC39F0B6}" srcOrd="2" destOrd="0" parTransId="{6FB800BF-C0D2-4431-90AD-DB6C6F916073}" sibTransId="{F330B70A-5047-4F52-80F0-426794C12634}"/>
    <dgm:cxn modelId="{7F49AA64-5A1A-4185-8D5B-A614FFF6C8AB}" type="presOf" srcId="{9E6D193C-AE2E-4C60-B40E-8A836963A6ED}" destId="{B743BF5E-8E74-4AA4-AF77-FEB591727596}" srcOrd="0" destOrd="0" presId="urn:microsoft.com/office/officeart/2005/8/layout/orgChart1"/>
    <dgm:cxn modelId="{24106185-18D9-48B1-AAE2-4FC69831F042}" srcId="{3FA8E52E-41A8-4B79-88F3-ABDEBF17CD17}" destId="{E59C7045-2EF3-4659-8457-FC2DC2C82928}" srcOrd="3" destOrd="0" parTransId="{B0DC9A8E-7A12-4BF0-8A96-882866292D90}" sibTransId="{EBD21BEC-BB3F-4363-BD34-812CD6EAD19C}"/>
    <dgm:cxn modelId="{CBEFB157-E296-4AF9-B054-3EE90D429E38}" srcId="{3FA8E52E-41A8-4B79-88F3-ABDEBF17CD17}" destId="{2758B6C3-6786-4A0A-94BA-3C0B87000D62}" srcOrd="1" destOrd="0" parTransId="{9C577F41-001A-42AE-AABF-54268D15A364}" sibTransId="{0F2659BC-333B-4BFD-B380-C47321237054}"/>
    <dgm:cxn modelId="{2481558B-2C38-4713-9850-B0DA8DE41590}" type="presOf" srcId="{DB7FB121-89FA-4FDA-BA06-6EB92D692684}" destId="{FA874DA8-4D76-40E4-B03F-68097D2BD076}" srcOrd="0" destOrd="0" presId="urn:microsoft.com/office/officeart/2005/8/layout/orgChart1"/>
    <dgm:cxn modelId="{A01D60FA-6986-44A6-B755-2454FB468C6D}" type="presParOf" srcId="{C80C8456-3BBA-45FD-AD23-3C06B4C3CF8C}" destId="{F88D0735-F9A5-4838-BF81-5F41B1860C85}" srcOrd="0" destOrd="0" presId="urn:microsoft.com/office/officeart/2005/8/layout/orgChart1"/>
    <dgm:cxn modelId="{CF09DF81-82C8-471A-83B9-046BF14879FE}" type="presParOf" srcId="{F88D0735-F9A5-4838-BF81-5F41B1860C85}" destId="{3AF30B77-46B7-4926-8FDC-1C8E1DF50EF1}" srcOrd="0" destOrd="0" presId="urn:microsoft.com/office/officeart/2005/8/layout/orgChart1"/>
    <dgm:cxn modelId="{9CEBD406-E750-4B4A-A8FF-210ACBEFDDDB}" type="presParOf" srcId="{3AF30B77-46B7-4926-8FDC-1C8E1DF50EF1}" destId="{4647B7EA-AC87-4476-9537-D181D7693287}" srcOrd="0" destOrd="0" presId="urn:microsoft.com/office/officeart/2005/8/layout/orgChart1"/>
    <dgm:cxn modelId="{59F2266C-05D3-4882-9675-81DBF29E7761}" type="presParOf" srcId="{3AF30B77-46B7-4926-8FDC-1C8E1DF50EF1}" destId="{11C8C23B-B493-47C5-9205-B34A41C8E805}" srcOrd="1" destOrd="0" presId="urn:microsoft.com/office/officeart/2005/8/layout/orgChart1"/>
    <dgm:cxn modelId="{5F13BAEF-DA13-4F2C-9979-2157190DF29C}" type="presParOf" srcId="{F88D0735-F9A5-4838-BF81-5F41B1860C85}" destId="{6ADA6EB7-E841-4017-AB6F-9758EC075640}" srcOrd="1" destOrd="0" presId="urn:microsoft.com/office/officeart/2005/8/layout/orgChart1"/>
    <dgm:cxn modelId="{377B8DAC-22CE-49E8-9C5E-23077604D669}" type="presParOf" srcId="{6ADA6EB7-E841-4017-AB6F-9758EC075640}" destId="{D8734DF8-E79C-44E6-9764-7B2B826E2D1C}" srcOrd="0" destOrd="0" presId="urn:microsoft.com/office/officeart/2005/8/layout/orgChart1"/>
    <dgm:cxn modelId="{E6E55218-C6FF-4CB8-B4BD-0458A5293174}" type="presParOf" srcId="{6ADA6EB7-E841-4017-AB6F-9758EC075640}" destId="{3BF45422-8F93-428C-91EC-E06D9991B6FE}" srcOrd="1" destOrd="0" presId="urn:microsoft.com/office/officeart/2005/8/layout/orgChart1"/>
    <dgm:cxn modelId="{06DD9626-E43E-4A39-B5F2-3EB8FC8EE9E6}" type="presParOf" srcId="{3BF45422-8F93-428C-91EC-E06D9991B6FE}" destId="{8CEB8CCE-8615-474E-83B5-07DDBEFCE369}" srcOrd="0" destOrd="0" presId="urn:microsoft.com/office/officeart/2005/8/layout/orgChart1"/>
    <dgm:cxn modelId="{D650808D-7789-4BA7-A423-D993319525C3}" type="presParOf" srcId="{8CEB8CCE-8615-474E-83B5-07DDBEFCE369}" destId="{B7CC506E-76AA-4F38-A791-F42D4C7CADF8}" srcOrd="0" destOrd="0" presId="urn:microsoft.com/office/officeart/2005/8/layout/orgChart1"/>
    <dgm:cxn modelId="{45C03704-17DA-43A3-83FF-579C289E1AF4}" type="presParOf" srcId="{8CEB8CCE-8615-474E-83B5-07DDBEFCE369}" destId="{9A3B73B8-A734-4DA9-B323-C843A6C97FD7}" srcOrd="1" destOrd="0" presId="urn:microsoft.com/office/officeart/2005/8/layout/orgChart1"/>
    <dgm:cxn modelId="{AEFBE749-1926-4FB6-B61F-C21CF2211920}" type="presParOf" srcId="{3BF45422-8F93-428C-91EC-E06D9991B6FE}" destId="{EE113FB6-5CEC-4C8E-8E8F-E1126C6E7BAF}" srcOrd="1" destOrd="0" presId="urn:microsoft.com/office/officeart/2005/8/layout/orgChart1"/>
    <dgm:cxn modelId="{84C84375-322E-4520-A6CC-BB4D144EECB2}" type="presParOf" srcId="{EE113FB6-5CEC-4C8E-8E8F-E1126C6E7BAF}" destId="{1E6F7728-0201-4A15-AC95-CC7E377B1A72}" srcOrd="0" destOrd="0" presId="urn:microsoft.com/office/officeart/2005/8/layout/orgChart1"/>
    <dgm:cxn modelId="{CA6774AD-0149-4621-99D0-279740E4731F}" type="presParOf" srcId="{EE113FB6-5CEC-4C8E-8E8F-E1126C6E7BAF}" destId="{FF7C084A-888B-49ED-9D1D-C688AFE06D8A}" srcOrd="1" destOrd="0" presId="urn:microsoft.com/office/officeart/2005/8/layout/orgChart1"/>
    <dgm:cxn modelId="{08FF13CC-9C9A-4F4A-8EA9-34AF28133861}" type="presParOf" srcId="{FF7C084A-888B-49ED-9D1D-C688AFE06D8A}" destId="{5B767B2E-DABF-46EA-AA3A-68FBBCE70CEF}" srcOrd="0" destOrd="0" presId="urn:microsoft.com/office/officeart/2005/8/layout/orgChart1"/>
    <dgm:cxn modelId="{C394FCA1-D09E-4B1B-BDF6-A1AFA6B4B63B}" type="presParOf" srcId="{5B767B2E-DABF-46EA-AA3A-68FBBCE70CEF}" destId="{AD2E7CCF-8632-48BA-AB5F-38D672160CB7}" srcOrd="0" destOrd="0" presId="urn:microsoft.com/office/officeart/2005/8/layout/orgChart1"/>
    <dgm:cxn modelId="{24C1A696-904C-4208-ABCA-14595577A7F4}" type="presParOf" srcId="{5B767B2E-DABF-46EA-AA3A-68FBBCE70CEF}" destId="{CC4D928E-8FD4-48D7-883D-76404CA06E7E}" srcOrd="1" destOrd="0" presId="urn:microsoft.com/office/officeart/2005/8/layout/orgChart1"/>
    <dgm:cxn modelId="{124684D4-E401-48B8-A0EA-E869E1C604C2}" type="presParOf" srcId="{FF7C084A-888B-49ED-9D1D-C688AFE06D8A}" destId="{FA32E815-7F22-426A-90B0-8E402FE47375}" srcOrd="1" destOrd="0" presId="urn:microsoft.com/office/officeart/2005/8/layout/orgChart1"/>
    <dgm:cxn modelId="{880BB3AA-7894-4FBF-9B2F-D4A9A085641D}" type="presParOf" srcId="{FF7C084A-888B-49ED-9D1D-C688AFE06D8A}" destId="{18F8BF39-FA26-4730-97B0-68D18375DDD3}" srcOrd="2" destOrd="0" presId="urn:microsoft.com/office/officeart/2005/8/layout/orgChart1"/>
    <dgm:cxn modelId="{B39A28B3-5045-4AA6-93B7-BF30E297E69B}" type="presParOf" srcId="{EE113FB6-5CEC-4C8E-8E8F-E1126C6E7BAF}" destId="{E69AAF95-112D-4CA3-8B25-A2C1AA2BFB20}" srcOrd="2" destOrd="0" presId="urn:microsoft.com/office/officeart/2005/8/layout/orgChart1"/>
    <dgm:cxn modelId="{04F288F8-9B60-4E1D-87B1-BD52081582CA}" type="presParOf" srcId="{EE113FB6-5CEC-4C8E-8E8F-E1126C6E7BAF}" destId="{80A3AA10-C1FA-471D-A249-6AFB3714DCB8}" srcOrd="3" destOrd="0" presId="urn:microsoft.com/office/officeart/2005/8/layout/orgChart1"/>
    <dgm:cxn modelId="{EB2FAB4C-58CE-4EC0-B1DC-90C6015012C8}" type="presParOf" srcId="{80A3AA10-C1FA-471D-A249-6AFB3714DCB8}" destId="{A88FBACF-46A7-4A42-A1E4-BC43DEA31223}" srcOrd="0" destOrd="0" presId="urn:microsoft.com/office/officeart/2005/8/layout/orgChart1"/>
    <dgm:cxn modelId="{BE44CAE5-5564-4CA3-B60F-32FC12827961}" type="presParOf" srcId="{A88FBACF-46A7-4A42-A1E4-BC43DEA31223}" destId="{3AC870FB-C26A-455D-A787-26FB8A768500}" srcOrd="0" destOrd="0" presId="urn:microsoft.com/office/officeart/2005/8/layout/orgChart1"/>
    <dgm:cxn modelId="{F6181E86-EFCE-454F-B159-13693C01A2B0}" type="presParOf" srcId="{A88FBACF-46A7-4A42-A1E4-BC43DEA31223}" destId="{E350FF0A-3899-4666-BFBB-4391AE4ED83D}" srcOrd="1" destOrd="0" presId="urn:microsoft.com/office/officeart/2005/8/layout/orgChart1"/>
    <dgm:cxn modelId="{9A5CD018-2376-4883-9A53-8DCF37444832}" type="presParOf" srcId="{80A3AA10-C1FA-471D-A249-6AFB3714DCB8}" destId="{85CF59DE-9063-4A6A-825C-7A44436C0528}" srcOrd="1" destOrd="0" presId="urn:microsoft.com/office/officeart/2005/8/layout/orgChart1"/>
    <dgm:cxn modelId="{30F18C5D-BC0C-4FEE-A6DC-E80F7898F5BC}" type="presParOf" srcId="{80A3AA10-C1FA-471D-A249-6AFB3714DCB8}" destId="{9C2EBD5A-543C-42FB-A080-47829399EF4A}" srcOrd="2" destOrd="0" presId="urn:microsoft.com/office/officeart/2005/8/layout/orgChart1"/>
    <dgm:cxn modelId="{27BF1438-D9CF-49FC-B556-EA30F70C8376}" type="presParOf" srcId="{EE113FB6-5CEC-4C8E-8E8F-E1126C6E7BAF}" destId="{8912F301-E950-4E0C-B146-0A5185F9A67F}" srcOrd="4" destOrd="0" presId="urn:microsoft.com/office/officeart/2005/8/layout/orgChart1"/>
    <dgm:cxn modelId="{BAE20406-F0CA-44BB-B2B6-F46B67FFF710}" type="presParOf" srcId="{EE113FB6-5CEC-4C8E-8E8F-E1126C6E7BAF}" destId="{834BCB6B-E703-4F1D-921C-98C1AA78C974}" srcOrd="5" destOrd="0" presId="urn:microsoft.com/office/officeart/2005/8/layout/orgChart1"/>
    <dgm:cxn modelId="{17E82CEA-538A-43DB-A8DD-4FB4BBCFDE3E}" type="presParOf" srcId="{834BCB6B-E703-4F1D-921C-98C1AA78C974}" destId="{AF158338-D549-4974-9E57-FC481999E22C}" srcOrd="0" destOrd="0" presId="urn:microsoft.com/office/officeart/2005/8/layout/orgChart1"/>
    <dgm:cxn modelId="{E52057BB-D8FB-43E6-9F9D-AE525F933420}" type="presParOf" srcId="{AF158338-D549-4974-9E57-FC481999E22C}" destId="{68F9805C-8CAE-4938-9623-6375F921F333}" srcOrd="0" destOrd="0" presId="urn:microsoft.com/office/officeart/2005/8/layout/orgChart1"/>
    <dgm:cxn modelId="{36A760B1-4FEE-49C3-B52E-4198964D28B5}" type="presParOf" srcId="{AF158338-D549-4974-9E57-FC481999E22C}" destId="{EED161AF-40AD-43B2-8B46-38DF36ECA8B3}" srcOrd="1" destOrd="0" presId="urn:microsoft.com/office/officeart/2005/8/layout/orgChart1"/>
    <dgm:cxn modelId="{21E95998-8001-428A-AD65-17B2DCA76426}" type="presParOf" srcId="{834BCB6B-E703-4F1D-921C-98C1AA78C974}" destId="{A48F0EED-10B4-43B4-8314-E035F4FF4276}" srcOrd="1" destOrd="0" presId="urn:microsoft.com/office/officeart/2005/8/layout/orgChart1"/>
    <dgm:cxn modelId="{FE17DDB6-2499-4938-9E2A-08B5F4440808}" type="presParOf" srcId="{834BCB6B-E703-4F1D-921C-98C1AA78C974}" destId="{E10B221C-A66C-4977-B1B3-3DB40C85D802}" srcOrd="2" destOrd="0" presId="urn:microsoft.com/office/officeart/2005/8/layout/orgChart1"/>
    <dgm:cxn modelId="{F3D4373D-5B89-4F2D-A584-1789E18D2090}" type="presParOf" srcId="{EE113FB6-5CEC-4C8E-8E8F-E1126C6E7BAF}" destId="{59553AB9-15C6-41A5-86D0-0A8B70218E8B}" srcOrd="6" destOrd="0" presId="urn:microsoft.com/office/officeart/2005/8/layout/orgChart1"/>
    <dgm:cxn modelId="{B3E66D84-DF15-4391-98D5-3B6C65697C54}" type="presParOf" srcId="{EE113FB6-5CEC-4C8E-8E8F-E1126C6E7BAF}" destId="{B52134F1-1856-4C86-A778-3A7D191FACBC}" srcOrd="7" destOrd="0" presId="urn:microsoft.com/office/officeart/2005/8/layout/orgChart1"/>
    <dgm:cxn modelId="{6F0D8D4D-EBCA-44CF-A06E-3739A26F1A98}" type="presParOf" srcId="{B52134F1-1856-4C86-A778-3A7D191FACBC}" destId="{0B4A54DC-C4AF-4F2B-9936-BD4F6AA0CF52}" srcOrd="0" destOrd="0" presId="urn:microsoft.com/office/officeart/2005/8/layout/orgChart1"/>
    <dgm:cxn modelId="{CDC37355-7B32-4408-906B-5A71F53C35E2}" type="presParOf" srcId="{0B4A54DC-C4AF-4F2B-9936-BD4F6AA0CF52}" destId="{61B4AA93-0842-4D55-B889-C5D4706F273C}" srcOrd="0" destOrd="0" presId="urn:microsoft.com/office/officeart/2005/8/layout/orgChart1"/>
    <dgm:cxn modelId="{948139B4-6886-4D92-A1FE-06619D0BF8D3}" type="presParOf" srcId="{0B4A54DC-C4AF-4F2B-9936-BD4F6AA0CF52}" destId="{E846EEA4-3606-4E73-993D-7A44D043C02F}" srcOrd="1" destOrd="0" presId="urn:microsoft.com/office/officeart/2005/8/layout/orgChart1"/>
    <dgm:cxn modelId="{53B7DEAA-19E1-4066-B39D-5192F8CBD4E8}" type="presParOf" srcId="{B52134F1-1856-4C86-A778-3A7D191FACBC}" destId="{2FA24229-AE3F-44B6-8627-7B111FEBB73B}" srcOrd="1" destOrd="0" presId="urn:microsoft.com/office/officeart/2005/8/layout/orgChart1"/>
    <dgm:cxn modelId="{E6B6FC81-A7ED-4A68-A6DD-9600C720D7CE}" type="presParOf" srcId="{B52134F1-1856-4C86-A778-3A7D191FACBC}" destId="{CC4B2863-8354-4EE9-8135-BEA83B40949F}" srcOrd="2" destOrd="0" presId="urn:microsoft.com/office/officeart/2005/8/layout/orgChart1"/>
    <dgm:cxn modelId="{FC97691D-CCCE-4EEC-8A01-99E62C5FE6C6}" type="presParOf" srcId="{EE113FB6-5CEC-4C8E-8E8F-E1126C6E7BAF}" destId="{E2C6E8CA-49E0-4ED9-8590-8C6DE8D745C9}" srcOrd="8" destOrd="0" presId="urn:microsoft.com/office/officeart/2005/8/layout/orgChart1"/>
    <dgm:cxn modelId="{39F52130-A8EA-476D-9590-2BA07A4E5DE7}" type="presParOf" srcId="{EE113FB6-5CEC-4C8E-8E8F-E1126C6E7BAF}" destId="{0D50DA4F-9586-41F2-91B6-BC19DB900CA3}" srcOrd="9" destOrd="0" presId="urn:microsoft.com/office/officeart/2005/8/layout/orgChart1"/>
    <dgm:cxn modelId="{5DDF797B-8EFE-4608-A741-9D86D44C5E65}" type="presParOf" srcId="{0D50DA4F-9586-41F2-91B6-BC19DB900CA3}" destId="{9CCCE715-3EF9-48A9-BC41-62EC08586110}" srcOrd="0" destOrd="0" presId="urn:microsoft.com/office/officeart/2005/8/layout/orgChart1"/>
    <dgm:cxn modelId="{CC77FBFC-6E43-4733-AA0B-4B9977FE22A4}" type="presParOf" srcId="{9CCCE715-3EF9-48A9-BC41-62EC08586110}" destId="{3D806196-A09E-42B6-89DA-5DE151B649CC}" srcOrd="0" destOrd="0" presId="urn:microsoft.com/office/officeart/2005/8/layout/orgChart1"/>
    <dgm:cxn modelId="{41F2D404-C5C1-44F9-BD99-B348A631272E}" type="presParOf" srcId="{9CCCE715-3EF9-48A9-BC41-62EC08586110}" destId="{267C9922-0B84-4AEE-9817-7077676D94D7}" srcOrd="1" destOrd="0" presId="urn:microsoft.com/office/officeart/2005/8/layout/orgChart1"/>
    <dgm:cxn modelId="{2B36D9EA-523D-44DE-8328-27B26DA7B32D}" type="presParOf" srcId="{0D50DA4F-9586-41F2-91B6-BC19DB900CA3}" destId="{99A7B307-B6C1-45CF-A195-50D3AFA0DFD9}" srcOrd="1" destOrd="0" presId="urn:microsoft.com/office/officeart/2005/8/layout/orgChart1"/>
    <dgm:cxn modelId="{11E8D220-F2D1-4F70-BAA3-A8352A0B03F4}" type="presParOf" srcId="{0D50DA4F-9586-41F2-91B6-BC19DB900CA3}" destId="{89B5850F-0E35-45C4-8339-C0B5560752D2}" srcOrd="2" destOrd="0" presId="urn:microsoft.com/office/officeart/2005/8/layout/orgChart1"/>
    <dgm:cxn modelId="{D87E64E9-9CA9-424B-8067-8174AA3AE492}" type="presParOf" srcId="{EE113FB6-5CEC-4C8E-8E8F-E1126C6E7BAF}" destId="{EB7A51C9-2A3B-4023-940F-7A577F808009}" srcOrd="10" destOrd="0" presId="urn:microsoft.com/office/officeart/2005/8/layout/orgChart1"/>
    <dgm:cxn modelId="{43DD8E68-1D98-4B0A-AD52-0803F27216B9}" type="presParOf" srcId="{EE113FB6-5CEC-4C8E-8E8F-E1126C6E7BAF}" destId="{246507F2-0C22-4B24-A251-2A3228A61CE7}" srcOrd="11" destOrd="0" presId="urn:microsoft.com/office/officeart/2005/8/layout/orgChart1"/>
    <dgm:cxn modelId="{8AEF02E9-4A9A-4776-B34D-74A5402D5E2B}" type="presParOf" srcId="{246507F2-0C22-4B24-A251-2A3228A61CE7}" destId="{D77675F7-B28C-4D4B-84E1-B4DD449ADF02}" srcOrd="0" destOrd="0" presId="urn:microsoft.com/office/officeart/2005/8/layout/orgChart1"/>
    <dgm:cxn modelId="{AD7B7D82-BD2C-46BD-8BF4-6680D11941D9}" type="presParOf" srcId="{D77675F7-B28C-4D4B-84E1-B4DD449ADF02}" destId="{4C1F4693-C8EA-4D49-A3D3-8D6D9A6A79CE}" srcOrd="0" destOrd="0" presId="urn:microsoft.com/office/officeart/2005/8/layout/orgChart1"/>
    <dgm:cxn modelId="{A41E7312-BB80-422A-AE8D-DB85C53B9A82}" type="presParOf" srcId="{D77675F7-B28C-4D4B-84E1-B4DD449ADF02}" destId="{6FCF4D04-EFDA-413E-8BA0-F4AD778E5115}" srcOrd="1" destOrd="0" presId="urn:microsoft.com/office/officeart/2005/8/layout/orgChart1"/>
    <dgm:cxn modelId="{35F356D4-295A-437F-8931-45C9B1617615}" type="presParOf" srcId="{246507F2-0C22-4B24-A251-2A3228A61CE7}" destId="{A0FB8380-7C63-4614-AC2A-5B0EBE61DAFD}" srcOrd="1" destOrd="0" presId="urn:microsoft.com/office/officeart/2005/8/layout/orgChart1"/>
    <dgm:cxn modelId="{7AFAD6D3-EADF-4893-A5C8-BED347E3A54A}" type="presParOf" srcId="{246507F2-0C22-4B24-A251-2A3228A61CE7}" destId="{CAB8D789-09E7-436B-8A7E-FA0CCF8BC7DA}" srcOrd="2" destOrd="0" presId="urn:microsoft.com/office/officeart/2005/8/layout/orgChart1"/>
    <dgm:cxn modelId="{CBE0C396-995B-411F-A8D4-DA8E246A5301}" type="presParOf" srcId="{3BF45422-8F93-428C-91EC-E06D9991B6FE}" destId="{CDD23DDC-118A-4A96-B6A6-9F156A5E2A9D}" srcOrd="2" destOrd="0" presId="urn:microsoft.com/office/officeart/2005/8/layout/orgChart1"/>
    <dgm:cxn modelId="{8CB0C87E-823B-40D5-A97D-975CA67F86C5}" type="presParOf" srcId="{6ADA6EB7-E841-4017-AB6F-9758EC075640}" destId="{16194040-5E60-434D-BF92-83FD3BBE53B9}" srcOrd="2" destOrd="0" presId="urn:microsoft.com/office/officeart/2005/8/layout/orgChart1"/>
    <dgm:cxn modelId="{66E35CAD-D070-4F40-8D4C-E4D147340926}" type="presParOf" srcId="{6ADA6EB7-E841-4017-AB6F-9758EC075640}" destId="{9737D7A7-63F3-48BF-9933-04C5C8E1822C}" srcOrd="3" destOrd="0" presId="urn:microsoft.com/office/officeart/2005/8/layout/orgChart1"/>
    <dgm:cxn modelId="{43228564-43EA-4F61-AC04-32778DC4ABD2}" type="presParOf" srcId="{9737D7A7-63F3-48BF-9933-04C5C8E1822C}" destId="{A972BEBF-FC6A-4D64-AD40-05A77994A454}" srcOrd="0" destOrd="0" presId="urn:microsoft.com/office/officeart/2005/8/layout/orgChart1"/>
    <dgm:cxn modelId="{1E56EF52-896D-415D-907E-FA6DE750CCA2}" type="presParOf" srcId="{A972BEBF-FC6A-4D64-AD40-05A77994A454}" destId="{C633A689-B769-440B-A61E-472B58BC51D4}" srcOrd="0" destOrd="0" presId="urn:microsoft.com/office/officeart/2005/8/layout/orgChart1"/>
    <dgm:cxn modelId="{91DA6E2B-B5A9-4AAE-8473-985F5832911B}" type="presParOf" srcId="{A972BEBF-FC6A-4D64-AD40-05A77994A454}" destId="{BBF4301C-272D-4A88-904A-92188D17DA3C}" srcOrd="1" destOrd="0" presId="urn:microsoft.com/office/officeart/2005/8/layout/orgChart1"/>
    <dgm:cxn modelId="{7DC8F33E-E048-4F9C-BFDE-64EC489CE6A6}" type="presParOf" srcId="{9737D7A7-63F3-48BF-9933-04C5C8E1822C}" destId="{D9FC4B45-3F3E-44FD-BCD4-EE579804DF83}" srcOrd="1" destOrd="0" presId="urn:microsoft.com/office/officeart/2005/8/layout/orgChart1"/>
    <dgm:cxn modelId="{99377711-C236-48BD-9615-73A404D6970D}" type="presParOf" srcId="{D9FC4B45-3F3E-44FD-BCD4-EE579804DF83}" destId="{C981F861-5079-4644-BDF7-785B038AC3AD}" srcOrd="0" destOrd="0" presId="urn:microsoft.com/office/officeart/2005/8/layout/orgChart1"/>
    <dgm:cxn modelId="{73EEC747-18C7-4B08-91AB-1FA035723791}" type="presParOf" srcId="{D9FC4B45-3F3E-44FD-BCD4-EE579804DF83}" destId="{BEBCB5B0-E952-4A7B-B366-2BD915D026FA}" srcOrd="1" destOrd="0" presId="urn:microsoft.com/office/officeart/2005/8/layout/orgChart1"/>
    <dgm:cxn modelId="{A4DAEA2D-D7AB-4167-BB2E-240BBC191E31}" type="presParOf" srcId="{BEBCB5B0-E952-4A7B-B366-2BD915D026FA}" destId="{45EF025C-4C3D-4E6F-84F2-3559FBE2A839}" srcOrd="0" destOrd="0" presId="urn:microsoft.com/office/officeart/2005/8/layout/orgChart1"/>
    <dgm:cxn modelId="{24021E59-4557-4418-9E81-7309AF80D521}" type="presParOf" srcId="{45EF025C-4C3D-4E6F-84F2-3559FBE2A839}" destId="{C52F6E7A-06EB-4ED7-9448-A059B6929A94}" srcOrd="0" destOrd="0" presId="urn:microsoft.com/office/officeart/2005/8/layout/orgChart1"/>
    <dgm:cxn modelId="{06C0D2FA-C095-4FB6-9CFF-61F673E50E1E}" type="presParOf" srcId="{45EF025C-4C3D-4E6F-84F2-3559FBE2A839}" destId="{A0C33D3F-A411-47FC-90AA-856B0B304567}" srcOrd="1" destOrd="0" presId="urn:microsoft.com/office/officeart/2005/8/layout/orgChart1"/>
    <dgm:cxn modelId="{677EAC3D-C681-4EE7-8CBF-03098257B534}" type="presParOf" srcId="{BEBCB5B0-E952-4A7B-B366-2BD915D026FA}" destId="{A7254F57-CE6A-451A-8333-3E530B873865}" srcOrd="1" destOrd="0" presId="urn:microsoft.com/office/officeart/2005/8/layout/orgChart1"/>
    <dgm:cxn modelId="{489C48AB-BF44-44D1-B2C8-F5569E532ACF}" type="presParOf" srcId="{BEBCB5B0-E952-4A7B-B366-2BD915D026FA}" destId="{C4BDD475-7121-4C22-874C-C1A929C08BF4}" srcOrd="2" destOrd="0" presId="urn:microsoft.com/office/officeart/2005/8/layout/orgChart1"/>
    <dgm:cxn modelId="{966949F8-6379-4807-80E1-8CEBCB19B6C3}" type="presParOf" srcId="{D9FC4B45-3F3E-44FD-BCD4-EE579804DF83}" destId="{DE8D8668-96E8-4FBC-8F48-E04927E8AF75}" srcOrd="2" destOrd="0" presId="urn:microsoft.com/office/officeart/2005/8/layout/orgChart1"/>
    <dgm:cxn modelId="{11B3E731-8FE5-4E63-8D39-C6094B05DA79}" type="presParOf" srcId="{D9FC4B45-3F3E-44FD-BCD4-EE579804DF83}" destId="{88FB0867-D1E0-45B1-BB04-D32B49A053A3}" srcOrd="3" destOrd="0" presId="urn:microsoft.com/office/officeart/2005/8/layout/orgChart1"/>
    <dgm:cxn modelId="{19ED1A80-57FF-42E4-AC04-9F761F239D30}" type="presParOf" srcId="{88FB0867-D1E0-45B1-BB04-D32B49A053A3}" destId="{BFD5BFA4-C2BA-484A-BD28-7C2D992780AE}" srcOrd="0" destOrd="0" presId="urn:microsoft.com/office/officeart/2005/8/layout/orgChart1"/>
    <dgm:cxn modelId="{525C2FB4-52C0-46E9-91E4-5AA56A1D8F4F}" type="presParOf" srcId="{BFD5BFA4-C2BA-484A-BD28-7C2D992780AE}" destId="{FA874DA8-4D76-40E4-B03F-68097D2BD076}" srcOrd="0" destOrd="0" presId="urn:microsoft.com/office/officeart/2005/8/layout/orgChart1"/>
    <dgm:cxn modelId="{DB0E2D37-7547-4928-B46F-0A8564777335}" type="presParOf" srcId="{BFD5BFA4-C2BA-484A-BD28-7C2D992780AE}" destId="{F613A01D-7200-4858-BD85-9D67C40E7C98}" srcOrd="1" destOrd="0" presId="urn:microsoft.com/office/officeart/2005/8/layout/orgChart1"/>
    <dgm:cxn modelId="{A2B7E81E-B635-4267-93EE-93D43EA93DDC}" type="presParOf" srcId="{88FB0867-D1E0-45B1-BB04-D32B49A053A3}" destId="{D17AC95D-A425-4D2A-BCE1-F8871780ECC2}" srcOrd="1" destOrd="0" presId="urn:microsoft.com/office/officeart/2005/8/layout/orgChart1"/>
    <dgm:cxn modelId="{C68EFDE4-8EF2-46DC-A124-B01C01C21F83}" type="presParOf" srcId="{88FB0867-D1E0-45B1-BB04-D32B49A053A3}" destId="{26B3467B-C8EA-4D03-9045-021F1A08FBFD}" srcOrd="2" destOrd="0" presId="urn:microsoft.com/office/officeart/2005/8/layout/orgChart1"/>
    <dgm:cxn modelId="{7389B3EC-5375-4768-9FA9-CED36EF274B5}" type="presParOf" srcId="{D9FC4B45-3F3E-44FD-BCD4-EE579804DF83}" destId="{DF2A5BDB-731B-4743-8645-30CC461A515D}" srcOrd="4" destOrd="0" presId="urn:microsoft.com/office/officeart/2005/8/layout/orgChart1"/>
    <dgm:cxn modelId="{D119A613-88A8-45DC-B0BD-1E4FAFF8350D}" type="presParOf" srcId="{D9FC4B45-3F3E-44FD-BCD4-EE579804DF83}" destId="{F222851E-2C4A-438E-84CC-EEBEF9673ED1}" srcOrd="5" destOrd="0" presId="urn:microsoft.com/office/officeart/2005/8/layout/orgChart1"/>
    <dgm:cxn modelId="{FE3966A4-B171-406F-BD2C-71D828808723}" type="presParOf" srcId="{F222851E-2C4A-438E-84CC-EEBEF9673ED1}" destId="{2FA5E372-4952-48CE-9BF7-15A2B7F76045}" srcOrd="0" destOrd="0" presId="urn:microsoft.com/office/officeart/2005/8/layout/orgChart1"/>
    <dgm:cxn modelId="{C9DAA538-A433-4FEF-9122-74E9CA0BD7C8}" type="presParOf" srcId="{2FA5E372-4952-48CE-9BF7-15A2B7F76045}" destId="{04410A4D-7DCC-4946-8471-DFD4EE5F71CD}" srcOrd="0" destOrd="0" presId="urn:microsoft.com/office/officeart/2005/8/layout/orgChart1"/>
    <dgm:cxn modelId="{687275E8-4F16-49BF-A697-B0E025F5E18B}" type="presParOf" srcId="{2FA5E372-4952-48CE-9BF7-15A2B7F76045}" destId="{9D907A16-BA97-49F7-A8E0-04EB9E2BF3A6}" srcOrd="1" destOrd="0" presId="urn:microsoft.com/office/officeart/2005/8/layout/orgChart1"/>
    <dgm:cxn modelId="{BB5180ED-2A7F-42E4-95DA-A07BD33263A2}" type="presParOf" srcId="{F222851E-2C4A-438E-84CC-EEBEF9673ED1}" destId="{A90F16CA-A95E-41A3-B02F-4344A4FB0D74}" srcOrd="1" destOrd="0" presId="urn:microsoft.com/office/officeart/2005/8/layout/orgChart1"/>
    <dgm:cxn modelId="{521143B4-6600-4687-9C8E-405141B24A98}" type="presParOf" srcId="{F222851E-2C4A-438E-84CC-EEBEF9673ED1}" destId="{C4475F51-E6C7-4F33-810C-B97B00BA8D02}" srcOrd="2" destOrd="0" presId="urn:microsoft.com/office/officeart/2005/8/layout/orgChart1"/>
    <dgm:cxn modelId="{29100E03-D363-4095-9324-3D382BCF5F53}" type="presParOf" srcId="{D9FC4B45-3F3E-44FD-BCD4-EE579804DF83}" destId="{B743BF5E-8E74-4AA4-AF77-FEB591727596}" srcOrd="6" destOrd="0" presId="urn:microsoft.com/office/officeart/2005/8/layout/orgChart1"/>
    <dgm:cxn modelId="{3495609A-EAF2-4D4A-9559-250CA0AC40CD}" type="presParOf" srcId="{D9FC4B45-3F3E-44FD-BCD4-EE579804DF83}" destId="{CD5184F5-D5F6-46CC-97B3-EBCFD5902623}" srcOrd="7" destOrd="0" presId="urn:microsoft.com/office/officeart/2005/8/layout/orgChart1"/>
    <dgm:cxn modelId="{8BEF1125-3D68-444B-B2C3-84867A4AF6CD}" type="presParOf" srcId="{CD5184F5-D5F6-46CC-97B3-EBCFD5902623}" destId="{C56F44D4-5F14-493A-BE16-DF4F2EFE43BF}" srcOrd="0" destOrd="0" presId="urn:microsoft.com/office/officeart/2005/8/layout/orgChart1"/>
    <dgm:cxn modelId="{08BCF08A-FCD3-42AA-B306-8593A136C832}" type="presParOf" srcId="{C56F44D4-5F14-493A-BE16-DF4F2EFE43BF}" destId="{0E40AEC0-2671-423A-8A47-DC6E1E2C8277}" srcOrd="0" destOrd="0" presId="urn:microsoft.com/office/officeart/2005/8/layout/orgChart1"/>
    <dgm:cxn modelId="{C2D135A5-00DA-468F-85D9-F624B7F1F8A4}" type="presParOf" srcId="{C56F44D4-5F14-493A-BE16-DF4F2EFE43BF}" destId="{0415C0B4-BF22-4E0A-9719-027F6097DCDD}" srcOrd="1" destOrd="0" presId="urn:microsoft.com/office/officeart/2005/8/layout/orgChart1"/>
    <dgm:cxn modelId="{A1DA18BF-8DF4-48A4-B180-C6653B4929F9}" type="presParOf" srcId="{CD5184F5-D5F6-46CC-97B3-EBCFD5902623}" destId="{0C0E6B72-C126-415D-880A-22C7AC233C4C}" srcOrd="1" destOrd="0" presId="urn:microsoft.com/office/officeart/2005/8/layout/orgChart1"/>
    <dgm:cxn modelId="{33C36A6A-8107-40AF-893A-CDE1FA0628F5}" type="presParOf" srcId="{CD5184F5-D5F6-46CC-97B3-EBCFD5902623}" destId="{614B6606-92CC-4D97-B498-7B815EFFBAE7}" srcOrd="2" destOrd="0" presId="urn:microsoft.com/office/officeart/2005/8/layout/orgChart1"/>
    <dgm:cxn modelId="{BBFA94ED-DBD8-4597-B99E-DD5A23D5C1A8}" type="presParOf" srcId="{D9FC4B45-3F3E-44FD-BCD4-EE579804DF83}" destId="{6B9BB72C-C16E-4812-A426-8736B0F4D50D}" srcOrd="8" destOrd="0" presId="urn:microsoft.com/office/officeart/2005/8/layout/orgChart1"/>
    <dgm:cxn modelId="{468603D1-F30D-4371-8178-B114F8A757AB}" type="presParOf" srcId="{D9FC4B45-3F3E-44FD-BCD4-EE579804DF83}" destId="{F96F047D-A9FC-4FF5-A8C1-941933C779B4}" srcOrd="9" destOrd="0" presId="urn:microsoft.com/office/officeart/2005/8/layout/orgChart1"/>
    <dgm:cxn modelId="{04656CDA-3C40-4D34-BA3E-64CE2C78DC3D}" type="presParOf" srcId="{F96F047D-A9FC-4FF5-A8C1-941933C779B4}" destId="{045801E2-3B02-4A8F-9585-6867B7DD31BC}" srcOrd="0" destOrd="0" presId="urn:microsoft.com/office/officeart/2005/8/layout/orgChart1"/>
    <dgm:cxn modelId="{DE165508-1EB0-428E-A8E0-91CB00109B4D}" type="presParOf" srcId="{045801E2-3B02-4A8F-9585-6867B7DD31BC}" destId="{EA59485D-2E2F-42CB-B81B-A0E1E3EA3A1C}" srcOrd="0" destOrd="0" presId="urn:microsoft.com/office/officeart/2005/8/layout/orgChart1"/>
    <dgm:cxn modelId="{1123DE80-C6B4-4D60-A5C3-48D2B09AA6AC}" type="presParOf" srcId="{045801E2-3B02-4A8F-9585-6867B7DD31BC}" destId="{3C113E1E-FE54-4128-B244-37B8276C710C}" srcOrd="1" destOrd="0" presId="urn:microsoft.com/office/officeart/2005/8/layout/orgChart1"/>
    <dgm:cxn modelId="{5145544F-2CAF-45C6-B78D-7663773948DB}" type="presParOf" srcId="{F96F047D-A9FC-4FF5-A8C1-941933C779B4}" destId="{94918608-EE8D-46B0-BBEE-532A885864C4}" srcOrd="1" destOrd="0" presId="urn:microsoft.com/office/officeart/2005/8/layout/orgChart1"/>
    <dgm:cxn modelId="{B7D21E4C-7283-4867-B588-C373DF1A8851}" type="presParOf" srcId="{F96F047D-A9FC-4FF5-A8C1-941933C779B4}" destId="{0351236A-BFB1-48C2-9E8E-AB3FA5B6820D}" srcOrd="2" destOrd="0" presId="urn:microsoft.com/office/officeart/2005/8/layout/orgChart1"/>
    <dgm:cxn modelId="{B2CA6A71-17A5-41E6-B73F-70AA29304EEA}" type="presParOf" srcId="{D9FC4B45-3F3E-44FD-BCD4-EE579804DF83}" destId="{36BF8A7A-9D89-41C0-8B99-0645BE0B5C9B}" srcOrd="10" destOrd="0" presId="urn:microsoft.com/office/officeart/2005/8/layout/orgChart1"/>
    <dgm:cxn modelId="{1646C2DF-4DC3-4883-976E-77FBEF05A362}" type="presParOf" srcId="{D9FC4B45-3F3E-44FD-BCD4-EE579804DF83}" destId="{38485F78-C0C3-43BA-9E36-BF58157B13ED}" srcOrd="11" destOrd="0" presId="urn:microsoft.com/office/officeart/2005/8/layout/orgChart1"/>
    <dgm:cxn modelId="{7F4A830D-EB3D-431D-9901-C19DBCA7913F}" type="presParOf" srcId="{38485F78-C0C3-43BA-9E36-BF58157B13ED}" destId="{7D166BD7-9271-4007-8979-6A6AC379B8BB}" srcOrd="0" destOrd="0" presId="urn:microsoft.com/office/officeart/2005/8/layout/orgChart1"/>
    <dgm:cxn modelId="{A015B7E3-923D-4411-A6C5-99268B135EE1}" type="presParOf" srcId="{7D166BD7-9271-4007-8979-6A6AC379B8BB}" destId="{69577400-3728-444D-96E5-E59C84094316}" srcOrd="0" destOrd="0" presId="urn:microsoft.com/office/officeart/2005/8/layout/orgChart1"/>
    <dgm:cxn modelId="{7C46D03E-4909-4DFE-AEC8-1EDDBAAB66F9}" type="presParOf" srcId="{7D166BD7-9271-4007-8979-6A6AC379B8BB}" destId="{BAABFAAE-EC69-4E1F-B78D-D84BCDA0D6AD}" srcOrd="1" destOrd="0" presId="urn:microsoft.com/office/officeart/2005/8/layout/orgChart1"/>
    <dgm:cxn modelId="{50CF11A7-F622-4B96-A1DC-64FA28668076}" type="presParOf" srcId="{38485F78-C0C3-43BA-9E36-BF58157B13ED}" destId="{BAF3FA39-621A-4DE6-9C1B-81F51A563D85}" srcOrd="1" destOrd="0" presId="urn:microsoft.com/office/officeart/2005/8/layout/orgChart1"/>
    <dgm:cxn modelId="{430CE224-6721-4705-A20C-F3C00ECECBD5}" type="presParOf" srcId="{38485F78-C0C3-43BA-9E36-BF58157B13ED}" destId="{B2F783A7-FEDE-4B91-A083-2D03DD6B5A32}" srcOrd="2" destOrd="0" presId="urn:microsoft.com/office/officeart/2005/8/layout/orgChart1"/>
    <dgm:cxn modelId="{29430053-0633-4157-A3E5-E7ED49D8438D}" type="presParOf" srcId="{D9FC4B45-3F3E-44FD-BCD4-EE579804DF83}" destId="{EDD6B248-4CEB-4654-9033-ED2BD107A221}" srcOrd="12" destOrd="0" presId="urn:microsoft.com/office/officeart/2005/8/layout/orgChart1"/>
    <dgm:cxn modelId="{9778E088-580D-4307-974F-73E10BC62070}" type="presParOf" srcId="{D9FC4B45-3F3E-44FD-BCD4-EE579804DF83}" destId="{F59716A7-2858-4185-A535-D6A46C708F35}" srcOrd="13" destOrd="0" presId="urn:microsoft.com/office/officeart/2005/8/layout/orgChart1"/>
    <dgm:cxn modelId="{124B5A93-C603-4D34-A889-1C435E42FA0E}" type="presParOf" srcId="{F59716A7-2858-4185-A535-D6A46C708F35}" destId="{3D357C93-C264-4972-9671-30636AA2D4E6}" srcOrd="0" destOrd="0" presId="urn:microsoft.com/office/officeart/2005/8/layout/orgChart1"/>
    <dgm:cxn modelId="{A8B52B67-BDC4-489B-9EBD-DC893C1FB14E}" type="presParOf" srcId="{3D357C93-C264-4972-9671-30636AA2D4E6}" destId="{830D38BF-6282-47C5-BAC0-DF00893C467F}" srcOrd="0" destOrd="0" presId="urn:microsoft.com/office/officeart/2005/8/layout/orgChart1"/>
    <dgm:cxn modelId="{8A64D233-843A-491F-892C-080AB93DC4DD}" type="presParOf" srcId="{3D357C93-C264-4972-9671-30636AA2D4E6}" destId="{50DD9E39-4F50-40C5-BD65-39D9CA175641}" srcOrd="1" destOrd="0" presId="urn:microsoft.com/office/officeart/2005/8/layout/orgChart1"/>
    <dgm:cxn modelId="{4001D771-97A4-4587-A01A-7659D383793F}" type="presParOf" srcId="{F59716A7-2858-4185-A535-D6A46C708F35}" destId="{0CC16348-B4E0-4B13-985D-E52B186059EA}" srcOrd="1" destOrd="0" presId="urn:microsoft.com/office/officeart/2005/8/layout/orgChart1"/>
    <dgm:cxn modelId="{FAA86224-01AD-4ED0-A954-4319A02EDF30}" type="presParOf" srcId="{F59716A7-2858-4185-A535-D6A46C708F35}" destId="{1D324484-253B-48C3-8F38-36D2065AE951}" srcOrd="2" destOrd="0" presId="urn:microsoft.com/office/officeart/2005/8/layout/orgChart1"/>
    <dgm:cxn modelId="{0C993EFF-27E3-419E-AE93-F2CB7E985A2E}" type="presParOf" srcId="{D9FC4B45-3F3E-44FD-BCD4-EE579804DF83}" destId="{5FAD3576-45D6-41B4-8CB0-E188125E4354}" srcOrd="14" destOrd="0" presId="urn:microsoft.com/office/officeart/2005/8/layout/orgChart1"/>
    <dgm:cxn modelId="{7F85E1EB-9EA8-40CB-837D-22BC46A111CA}" type="presParOf" srcId="{D9FC4B45-3F3E-44FD-BCD4-EE579804DF83}" destId="{FD64AC5D-3B06-4EF8-93BA-4CCDB222F53A}" srcOrd="15" destOrd="0" presId="urn:microsoft.com/office/officeart/2005/8/layout/orgChart1"/>
    <dgm:cxn modelId="{C60E9063-570F-458D-AFBB-0E21680478AE}" type="presParOf" srcId="{FD64AC5D-3B06-4EF8-93BA-4CCDB222F53A}" destId="{DC936B57-C0BC-40EC-9903-C1566FD66FA2}" srcOrd="0" destOrd="0" presId="urn:microsoft.com/office/officeart/2005/8/layout/orgChart1"/>
    <dgm:cxn modelId="{FACB5216-8B6F-444F-8CCF-85F61AE4B25B}" type="presParOf" srcId="{DC936B57-C0BC-40EC-9903-C1566FD66FA2}" destId="{FCD4C20C-521F-4545-939A-8A7799913E93}" srcOrd="0" destOrd="0" presId="urn:microsoft.com/office/officeart/2005/8/layout/orgChart1"/>
    <dgm:cxn modelId="{30528F03-712A-4829-97CA-50270F77749F}" type="presParOf" srcId="{DC936B57-C0BC-40EC-9903-C1566FD66FA2}" destId="{7095D4F8-1C8A-4F9A-9B63-236944966ED1}" srcOrd="1" destOrd="0" presId="urn:microsoft.com/office/officeart/2005/8/layout/orgChart1"/>
    <dgm:cxn modelId="{92B74399-3E96-4920-92CD-BE9B32BFDA74}" type="presParOf" srcId="{FD64AC5D-3B06-4EF8-93BA-4CCDB222F53A}" destId="{314F22F5-9ABF-4039-8D7C-8B5A5E7D7EC7}" srcOrd="1" destOrd="0" presId="urn:microsoft.com/office/officeart/2005/8/layout/orgChart1"/>
    <dgm:cxn modelId="{CF08018F-46ED-470A-B408-28E30406C229}" type="presParOf" srcId="{FD64AC5D-3B06-4EF8-93BA-4CCDB222F53A}" destId="{07DB01D3-0ECB-4E38-AAD6-577396565579}" srcOrd="2" destOrd="0" presId="urn:microsoft.com/office/officeart/2005/8/layout/orgChart1"/>
    <dgm:cxn modelId="{4BF4B800-ECC4-4143-B23A-012A83450975}" type="presParOf" srcId="{D9FC4B45-3F3E-44FD-BCD4-EE579804DF83}" destId="{C18432C2-F5A3-442A-9977-38AEE04F13DD}" srcOrd="16" destOrd="0" presId="urn:microsoft.com/office/officeart/2005/8/layout/orgChart1"/>
    <dgm:cxn modelId="{20C043E2-0B00-4179-AF0A-302D2202E2A8}" type="presParOf" srcId="{D9FC4B45-3F3E-44FD-BCD4-EE579804DF83}" destId="{6AE34D16-582D-406C-9420-799CC7F5A7AE}" srcOrd="17" destOrd="0" presId="urn:microsoft.com/office/officeart/2005/8/layout/orgChart1"/>
    <dgm:cxn modelId="{6F2B69D0-E943-4F58-8817-C81D2AC68E0F}" type="presParOf" srcId="{6AE34D16-582D-406C-9420-799CC7F5A7AE}" destId="{54DDDA25-6982-44A6-A3A4-FD7DD827E08C}" srcOrd="0" destOrd="0" presId="urn:microsoft.com/office/officeart/2005/8/layout/orgChart1"/>
    <dgm:cxn modelId="{28FB6DAD-E0CA-45EB-9A54-9CF532738543}" type="presParOf" srcId="{54DDDA25-6982-44A6-A3A4-FD7DD827E08C}" destId="{B831C22F-984D-4917-BB77-DA19C75E8EEC}" srcOrd="0" destOrd="0" presId="urn:microsoft.com/office/officeart/2005/8/layout/orgChart1"/>
    <dgm:cxn modelId="{DCDA9E01-AAFF-4041-8167-58B07809D506}" type="presParOf" srcId="{54DDDA25-6982-44A6-A3A4-FD7DD827E08C}" destId="{8315F59C-535C-41A3-9977-47ED97AB1D59}" srcOrd="1" destOrd="0" presId="urn:microsoft.com/office/officeart/2005/8/layout/orgChart1"/>
    <dgm:cxn modelId="{CB6FF049-757A-48C5-B110-2DC023AF40EC}" type="presParOf" srcId="{6AE34D16-582D-406C-9420-799CC7F5A7AE}" destId="{DDD0FE66-9AAF-4CF9-9EE4-075FBC445F44}" srcOrd="1" destOrd="0" presId="urn:microsoft.com/office/officeart/2005/8/layout/orgChart1"/>
    <dgm:cxn modelId="{699C6340-1900-427A-B14C-88C02256A834}" type="presParOf" srcId="{6AE34D16-582D-406C-9420-799CC7F5A7AE}" destId="{46289894-ECFE-4885-B42C-38D755361C48}" srcOrd="2" destOrd="0" presId="urn:microsoft.com/office/officeart/2005/8/layout/orgChart1"/>
    <dgm:cxn modelId="{C6C86C3E-DAB2-4EC0-9E2C-8288C6FD3695}" type="presParOf" srcId="{D9FC4B45-3F3E-44FD-BCD4-EE579804DF83}" destId="{23EDB892-9EB4-4D68-BBE5-B200E79A66A9}" srcOrd="18" destOrd="0" presId="urn:microsoft.com/office/officeart/2005/8/layout/orgChart1"/>
    <dgm:cxn modelId="{8620E892-00FD-482E-A15B-F3752EBF8803}" type="presParOf" srcId="{D9FC4B45-3F3E-44FD-BCD4-EE579804DF83}" destId="{3018BE9B-499A-46FA-B678-0395BD203C40}" srcOrd="19" destOrd="0" presId="urn:microsoft.com/office/officeart/2005/8/layout/orgChart1"/>
    <dgm:cxn modelId="{56D6FF06-7048-41FA-9B2D-1E4D94325655}" type="presParOf" srcId="{3018BE9B-499A-46FA-B678-0395BD203C40}" destId="{77BAEB05-B0AE-43B7-8916-5ABA409AE86C}" srcOrd="0" destOrd="0" presId="urn:microsoft.com/office/officeart/2005/8/layout/orgChart1"/>
    <dgm:cxn modelId="{52B6163A-7E6C-466E-925B-0E1813D624CE}" type="presParOf" srcId="{77BAEB05-B0AE-43B7-8916-5ABA409AE86C}" destId="{61FA1666-3CB0-4FB2-8C4B-E313F9D14383}" srcOrd="0" destOrd="0" presId="urn:microsoft.com/office/officeart/2005/8/layout/orgChart1"/>
    <dgm:cxn modelId="{D6C6729A-D6D3-4BB8-9E30-B6AED66A4D58}" type="presParOf" srcId="{77BAEB05-B0AE-43B7-8916-5ABA409AE86C}" destId="{14794923-454C-4188-8CA2-A3764EA77813}" srcOrd="1" destOrd="0" presId="urn:microsoft.com/office/officeart/2005/8/layout/orgChart1"/>
    <dgm:cxn modelId="{DA9F9766-8D8E-438C-B1A3-4050D7F8A061}" type="presParOf" srcId="{3018BE9B-499A-46FA-B678-0395BD203C40}" destId="{28C78716-BDA8-44DC-A378-37545D8133BD}" srcOrd="1" destOrd="0" presId="urn:microsoft.com/office/officeart/2005/8/layout/orgChart1"/>
    <dgm:cxn modelId="{DF98B400-EDC1-44EB-BCB8-D9822454F7EF}" type="presParOf" srcId="{3018BE9B-499A-46FA-B678-0395BD203C40}" destId="{4F154440-422F-4F9E-AF96-A0ACF29A387B}" srcOrd="2" destOrd="0" presId="urn:microsoft.com/office/officeart/2005/8/layout/orgChart1"/>
    <dgm:cxn modelId="{81063BF5-9B17-4A26-AE89-5E379E909842}" type="presParOf" srcId="{9737D7A7-63F3-48BF-9933-04C5C8E1822C}" destId="{03DD41D6-FCC6-4D83-AEDC-06B212AA9FF6}" srcOrd="2" destOrd="0" presId="urn:microsoft.com/office/officeart/2005/8/layout/orgChart1"/>
    <dgm:cxn modelId="{DAEB10D4-7346-4BF2-B0FD-66666257574D}" type="presParOf" srcId="{6ADA6EB7-E841-4017-AB6F-9758EC075640}" destId="{748B4E46-BCEA-4B90-9F45-8240389CE2F0}" srcOrd="4" destOrd="0" presId="urn:microsoft.com/office/officeart/2005/8/layout/orgChart1"/>
    <dgm:cxn modelId="{C87CADEC-186B-4644-8981-6540236C3AD4}" type="presParOf" srcId="{6ADA6EB7-E841-4017-AB6F-9758EC075640}" destId="{B68D8F3A-DC82-4FFE-B512-7099E3AEA713}" srcOrd="5" destOrd="0" presId="urn:microsoft.com/office/officeart/2005/8/layout/orgChart1"/>
    <dgm:cxn modelId="{D3615B6A-34EF-4069-AEAF-14922AC7CB71}" type="presParOf" srcId="{B68D8F3A-DC82-4FFE-B512-7099E3AEA713}" destId="{5BC34B2E-9029-44CF-B05B-F90E38971D23}" srcOrd="0" destOrd="0" presId="urn:microsoft.com/office/officeart/2005/8/layout/orgChart1"/>
    <dgm:cxn modelId="{EB6640C7-0607-4AC6-BAA8-2523DA6DE978}" type="presParOf" srcId="{5BC34B2E-9029-44CF-B05B-F90E38971D23}" destId="{A1A7E265-6B33-4908-BF5C-D6CD576CE0F9}" srcOrd="0" destOrd="0" presId="urn:microsoft.com/office/officeart/2005/8/layout/orgChart1"/>
    <dgm:cxn modelId="{F183249B-5766-45DB-8AAF-9647EBCA31A4}" type="presParOf" srcId="{5BC34B2E-9029-44CF-B05B-F90E38971D23}" destId="{439D2B84-4BEE-4138-999D-519850687B31}" srcOrd="1" destOrd="0" presId="urn:microsoft.com/office/officeart/2005/8/layout/orgChart1"/>
    <dgm:cxn modelId="{88060348-D1B8-4124-BDCB-C9A311FD0753}" type="presParOf" srcId="{B68D8F3A-DC82-4FFE-B512-7099E3AEA713}" destId="{D7D25BC5-EA56-4E39-91BA-6C064172B7DA}" srcOrd="1" destOrd="0" presId="urn:microsoft.com/office/officeart/2005/8/layout/orgChart1"/>
    <dgm:cxn modelId="{01B42DFF-7F3E-44B1-A818-08896D95FDD0}" type="presParOf" srcId="{D7D25BC5-EA56-4E39-91BA-6C064172B7DA}" destId="{CA3AC0F8-D2DD-45A4-986D-8A7CA3FCA483}" srcOrd="0" destOrd="0" presId="urn:microsoft.com/office/officeart/2005/8/layout/orgChart1"/>
    <dgm:cxn modelId="{50675057-ADBF-463C-953A-52AA5B072EC5}" type="presParOf" srcId="{D7D25BC5-EA56-4E39-91BA-6C064172B7DA}" destId="{D99DBDFB-ED52-48F3-8D3E-271C50D2B79E}" srcOrd="1" destOrd="0" presId="urn:microsoft.com/office/officeart/2005/8/layout/orgChart1"/>
    <dgm:cxn modelId="{1E4C5121-BE96-482B-973F-B2D7B2F0FD0F}" type="presParOf" srcId="{D99DBDFB-ED52-48F3-8D3E-271C50D2B79E}" destId="{9B763932-5A53-4A74-B004-D003C43E18EE}" srcOrd="0" destOrd="0" presId="urn:microsoft.com/office/officeart/2005/8/layout/orgChart1"/>
    <dgm:cxn modelId="{C5188B51-30BC-44CC-9FB5-50D7A5453813}" type="presParOf" srcId="{9B763932-5A53-4A74-B004-D003C43E18EE}" destId="{889AFA51-C7BD-4939-911F-CB1271EB2AF8}" srcOrd="0" destOrd="0" presId="urn:microsoft.com/office/officeart/2005/8/layout/orgChart1"/>
    <dgm:cxn modelId="{B50ACF49-9118-4591-B606-D0C03D612DE7}" type="presParOf" srcId="{9B763932-5A53-4A74-B004-D003C43E18EE}" destId="{A98729FF-77F6-46B8-967E-2555C25F663E}" srcOrd="1" destOrd="0" presId="urn:microsoft.com/office/officeart/2005/8/layout/orgChart1"/>
    <dgm:cxn modelId="{A9AC68C1-47A2-43D0-AF70-88853F69506B}" type="presParOf" srcId="{D99DBDFB-ED52-48F3-8D3E-271C50D2B79E}" destId="{F7EF3153-14EB-492F-AE95-D320C0C069FC}" srcOrd="1" destOrd="0" presId="urn:microsoft.com/office/officeart/2005/8/layout/orgChart1"/>
    <dgm:cxn modelId="{9101B860-0790-45D6-8F5C-E15BE6220789}" type="presParOf" srcId="{D99DBDFB-ED52-48F3-8D3E-271C50D2B79E}" destId="{A35E699F-E00D-4206-A588-89F62AAE38EC}" srcOrd="2" destOrd="0" presId="urn:microsoft.com/office/officeart/2005/8/layout/orgChart1"/>
    <dgm:cxn modelId="{6477D031-3D8A-414D-97C2-E6D3C54920D0}" type="presParOf" srcId="{D7D25BC5-EA56-4E39-91BA-6C064172B7DA}" destId="{24EA762B-4AE4-49BB-ACA9-F208C93443F3}" srcOrd="2" destOrd="0" presId="urn:microsoft.com/office/officeart/2005/8/layout/orgChart1"/>
    <dgm:cxn modelId="{A5D6F6C0-26D1-4DB5-99FE-6C29FEB40A91}" type="presParOf" srcId="{D7D25BC5-EA56-4E39-91BA-6C064172B7DA}" destId="{743E9B0D-08DF-427F-823F-CF3DE19E2DA6}" srcOrd="3" destOrd="0" presId="urn:microsoft.com/office/officeart/2005/8/layout/orgChart1"/>
    <dgm:cxn modelId="{2F09BA3B-D1F5-418D-8DF4-D242D51DDDE9}" type="presParOf" srcId="{743E9B0D-08DF-427F-823F-CF3DE19E2DA6}" destId="{3099D2FC-CB3B-40A5-B474-CD9965330136}" srcOrd="0" destOrd="0" presId="urn:microsoft.com/office/officeart/2005/8/layout/orgChart1"/>
    <dgm:cxn modelId="{60E62598-90F4-4C95-B7BC-15DCE0AB9697}" type="presParOf" srcId="{3099D2FC-CB3B-40A5-B474-CD9965330136}" destId="{5566157D-149C-460F-97F5-CE2E5214442B}" srcOrd="0" destOrd="0" presId="urn:microsoft.com/office/officeart/2005/8/layout/orgChart1"/>
    <dgm:cxn modelId="{F5A821CD-094C-4845-A664-577EE52E2DAE}" type="presParOf" srcId="{3099D2FC-CB3B-40A5-B474-CD9965330136}" destId="{1278BCC9-713A-42EA-B5C7-590514CE77EA}" srcOrd="1" destOrd="0" presId="urn:microsoft.com/office/officeart/2005/8/layout/orgChart1"/>
    <dgm:cxn modelId="{4DFEE85C-A1B1-4A80-9DF9-A0C1B857CD46}" type="presParOf" srcId="{743E9B0D-08DF-427F-823F-CF3DE19E2DA6}" destId="{A81B85AC-D1FE-4D14-88FC-5D972597779D}" srcOrd="1" destOrd="0" presId="urn:microsoft.com/office/officeart/2005/8/layout/orgChart1"/>
    <dgm:cxn modelId="{2AE7AF8B-ABC6-4AF8-A795-16FBB2F3442B}" type="presParOf" srcId="{743E9B0D-08DF-427F-823F-CF3DE19E2DA6}" destId="{316C3BD7-4B8D-418B-8A23-CB0C7576EEFB}" srcOrd="2" destOrd="0" presId="urn:microsoft.com/office/officeart/2005/8/layout/orgChart1"/>
    <dgm:cxn modelId="{92D247C7-1053-4EE4-A707-2145F0A267CB}" type="presParOf" srcId="{D7D25BC5-EA56-4E39-91BA-6C064172B7DA}" destId="{5EE41A7C-9A60-4601-9E7F-353EBE225BC6}" srcOrd="4" destOrd="0" presId="urn:microsoft.com/office/officeart/2005/8/layout/orgChart1"/>
    <dgm:cxn modelId="{C497D466-78A6-452E-A3D4-8D3D8E30BF6B}" type="presParOf" srcId="{D7D25BC5-EA56-4E39-91BA-6C064172B7DA}" destId="{3808C761-5149-4948-9D45-53A8311C1558}" srcOrd="5" destOrd="0" presId="urn:microsoft.com/office/officeart/2005/8/layout/orgChart1"/>
    <dgm:cxn modelId="{7D920463-41D4-4F53-A830-278133726EF9}" type="presParOf" srcId="{3808C761-5149-4948-9D45-53A8311C1558}" destId="{FEAB8C43-AD8A-416B-AFC7-40621C30E60F}" srcOrd="0" destOrd="0" presId="urn:microsoft.com/office/officeart/2005/8/layout/orgChart1"/>
    <dgm:cxn modelId="{AF7D3911-DF3A-48F2-90FF-0D71AFC70C25}" type="presParOf" srcId="{FEAB8C43-AD8A-416B-AFC7-40621C30E60F}" destId="{84973679-6F82-4ED4-A935-CA4A0FD0F148}" srcOrd="0" destOrd="0" presId="urn:microsoft.com/office/officeart/2005/8/layout/orgChart1"/>
    <dgm:cxn modelId="{3E0C5723-41C9-4C68-A3EE-0F0139CEE1D1}" type="presParOf" srcId="{FEAB8C43-AD8A-416B-AFC7-40621C30E60F}" destId="{40F4D01A-1074-4751-950A-F4647C147244}" srcOrd="1" destOrd="0" presId="urn:microsoft.com/office/officeart/2005/8/layout/orgChart1"/>
    <dgm:cxn modelId="{39E709EE-0695-412A-9A64-9BC0221FBA71}" type="presParOf" srcId="{3808C761-5149-4948-9D45-53A8311C1558}" destId="{27DF98D2-62E1-417C-82E4-D2FE02A4F5FE}" srcOrd="1" destOrd="0" presId="urn:microsoft.com/office/officeart/2005/8/layout/orgChart1"/>
    <dgm:cxn modelId="{5D46F278-8A28-4EC5-9F02-DE69F70C460F}" type="presParOf" srcId="{3808C761-5149-4948-9D45-53A8311C1558}" destId="{89A855E3-C00B-499B-87FC-C1CB1ECF0F4E}" srcOrd="2" destOrd="0" presId="urn:microsoft.com/office/officeart/2005/8/layout/orgChart1"/>
    <dgm:cxn modelId="{1377D95F-CC9E-4278-BA95-7672BCC58542}" type="presParOf" srcId="{D7D25BC5-EA56-4E39-91BA-6C064172B7DA}" destId="{FC2A0575-63FD-4437-9846-05FE755CCA4D}" srcOrd="6" destOrd="0" presId="urn:microsoft.com/office/officeart/2005/8/layout/orgChart1"/>
    <dgm:cxn modelId="{9A7A2828-BC43-4646-A10C-4CA47ED88C14}" type="presParOf" srcId="{D7D25BC5-EA56-4E39-91BA-6C064172B7DA}" destId="{988B3699-602D-4992-9E3E-924521844B38}" srcOrd="7" destOrd="0" presId="urn:microsoft.com/office/officeart/2005/8/layout/orgChart1"/>
    <dgm:cxn modelId="{0C6D8F47-200D-4B23-AB18-528665D86D73}" type="presParOf" srcId="{988B3699-602D-4992-9E3E-924521844B38}" destId="{8F8D8B90-26CA-4EA2-A128-D53D16BD5520}" srcOrd="0" destOrd="0" presId="urn:microsoft.com/office/officeart/2005/8/layout/orgChart1"/>
    <dgm:cxn modelId="{30A2E193-265A-42E8-B0FD-85AAA812D88E}" type="presParOf" srcId="{8F8D8B90-26CA-4EA2-A128-D53D16BD5520}" destId="{9185C20B-3F53-4B76-A66A-573CD6C3DBE0}" srcOrd="0" destOrd="0" presId="urn:microsoft.com/office/officeart/2005/8/layout/orgChart1"/>
    <dgm:cxn modelId="{EE7D2B56-49AE-4EBC-B073-AB6453DB297A}" type="presParOf" srcId="{8F8D8B90-26CA-4EA2-A128-D53D16BD5520}" destId="{F7DFF23A-F7C5-477C-B4A9-B17D28FAD8AD}" srcOrd="1" destOrd="0" presId="urn:microsoft.com/office/officeart/2005/8/layout/orgChart1"/>
    <dgm:cxn modelId="{F798C483-E8D5-40EA-B13F-94E0C71E85A9}" type="presParOf" srcId="{988B3699-602D-4992-9E3E-924521844B38}" destId="{7527F933-E877-4C7E-A425-6522C0EA79DC}" srcOrd="1" destOrd="0" presId="urn:microsoft.com/office/officeart/2005/8/layout/orgChart1"/>
    <dgm:cxn modelId="{F0792551-2653-48AD-94B1-F43D30A3DE92}" type="presParOf" srcId="{988B3699-602D-4992-9E3E-924521844B38}" destId="{47E34A57-57F2-49DC-852B-7FFD59F11D0A}" srcOrd="2" destOrd="0" presId="urn:microsoft.com/office/officeart/2005/8/layout/orgChart1"/>
    <dgm:cxn modelId="{214AE149-355F-48B2-B24D-C3CA9488A58A}" type="presParOf" srcId="{B68D8F3A-DC82-4FFE-B512-7099E3AEA713}" destId="{93C87654-F184-4CA5-85BD-B0DA8E3B6D6E}" srcOrd="2" destOrd="0" presId="urn:microsoft.com/office/officeart/2005/8/layout/orgChart1"/>
    <dgm:cxn modelId="{D5A29618-0B6F-4E10-B517-6AE660081393}" type="presParOf" srcId="{6ADA6EB7-E841-4017-AB6F-9758EC075640}" destId="{52E9BC89-FDF8-438D-A60C-DC48E0884547}" srcOrd="6" destOrd="0" presId="urn:microsoft.com/office/officeart/2005/8/layout/orgChart1"/>
    <dgm:cxn modelId="{B0712482-B67C-47A7-9A18-D7E92ABE12BE}" type="presParOf" srcId="{6ADA6EB7-E841-4017-AB6F-9758EC075640}" destId="{FF68940A-B349-444C-AA28-D3E810C7133D}" srcOrd="7" destOrd="0" presId="urn:microsoft.com/office/officeart/2005/8/layout/orgChart1"/>
    <dgm:cxn modelId="{2FA8A66D-B3E2-4D5F-A5D8-D08E1EBE9654}" type="presParOf" srcId="{FF68940A-B349-444C-AA28-D3E810C7133D}" destId="{6574B68E-08D6-4445-A396-E3011C6F1F1E}" srcOrd="0" destOrd="0" presId="urn:microsoft.com/office/officeart/2005/8/layout/orgChart1"/>
    <dgm:cxn modelId="{8395DEA0-1962-4750-932B-09E6EF5C7B92}" type="presParOf" srcId="{6574B68E-08D6-4445-A396-E3011C6F1F1E}" destId="{2034BB97-76EC-478B-8B14-7267569BC1AA}" srcOrd="0" destOrd="0" presId="urn:microsoft.com/office/officeart/2005/8/layout/orgChart1"/>
    <dgm:cxn modelId="{4FF9C9B1-481D-46EF-ABF4-FC7942002B0C}" type="presParOf" srcId="{6574B68E-08D6-4445-A396-E3011C6F1F1E}" destId="{8A30A787-B8DD-468A-B6C4-47C9516B39E9}" srcOrd="1" destOrd="0" presId="urn:microsoft.com/office/officeart/2005/8/layout/orgChart1"/>
    <dgm:cxn modelId="{19A3888F-4CAE-46CD-AAA5-25C99FD809CA}" type="presParOf" srcId="{FF68940A-B349-444C-AA28-D3E810C7133D}" destId="{41BF1B5E-8FD9-49C9-A221-D6ACE8B91BB2}" srcOrd="1" destOrd="0" presId="urn:microsoft.com/office/officeart/2005/8/layout/orgChart1"/>
    <dgm:cxn modelId="{385A0E72-3BA5-4479-91D4-575349B64297}" type="presParOf" srcId="{41BF1B5E-8FD9-49C9-A221-D6ACE8B91BB2}" destId="{0964CB70-41C0-4F29-B83E-AE1B76280125}" srcOrd="0" destOrd="0" presId="urn:microsoft.com/office/officeart/2005/8/layout/orgChart1"/>
    <dgm:cxn modelId="{4B942F8B-9B56-4FA8-9644-8BC6D072E476}" type="presParOf" srcId="{41BF1B5E-8FD9-49C9-A221-D6ACE8B91BB2}" destId="{263DF04E-9489-43B9-9919-6D4BBFA8FEFA}" srcOrd="1" destOrd="0" presId="urn:microsoft.com/office/officeart/2005/8/layout/orgChart1"/>
    <dgm:cxn modelId="{7E0EE1E4-CF28-4549-90D3-7433958C2AC0}" type="presParOf" srcId="{263DF04E-9489-43B9-9919-6D4BBFA8FEFA}" destId="{E3F323DD-D680-49A4-969C-D5BAF821034F}" srcOrd="0" destOrd="0" presId="urn:microsoft.com/office/officeart/2005/8/layout/orgChart1"/>
    <dgm:cxn modelId="{B01400C9-EDA9-46D8-959C-79A694012E53}" type="presParOf" srcId="{E3F323DD-D680-49A4-969C-D5BAF821034F}" destId="{6525961F-8FBD-4859-8DE6-CC029265436B}" srcOrd="0" destOrd="0" presId="urn:microsoft.com/office/officeart/2005/8/layout/orgChart1"/>
    <dgm:cxn modelId="{AEB57B39-D6ED-4DD9-B9D6-BA6417C6DE93}" type="presParOf" srcId="{E3F323DD-D680-49A4-969C-D5BAF821034F}" destId="{74A4E3A4-EC91-46B0-B939-76D9B05E6BDA}" srcOrd="1" destOrd="0" presId="urn:microsoft.com/office/officeart/2005/8/layout/orgChart1"/>
    <dgm:cxn modelId="{E1ACAE2A-05C9-4E9D-BE43-3A38B8953A8E}" type="presParOf" srcId="{263DF04E-9489-43B9-9919-6D4BBFA8FEFA}" destId="{C3D653DD-ECF6-4E60-B355-4686266D6C59}" srcOrd="1" destOrd="0" presId="urn:microsoft.com/office/officeart/2005/8/layout/orgChart1"/>
    <dgm:cxn modelId="{74410974-BF23-450D-B032-EACB740C5D0D}" type="presParOf" srcId="{263DF04E-9489-43B9-9919-6D4BBFA8FEFA}" destId="{8FB834D5-02D4-4988-BD91-B25BA84DF879}" srcOrd="2" destOrd="0" presId="urn:microsoft.com/office/officeart/2005/8/layout/orgChart1"/>
    <dgm:cxn modelId="{0EBF8E93-6B7C-494B-8DB8-987DB3A716A3}" type="presParOf" srcId="{41BF1B5E-8FD9-49C9-A221-D6ACE8B91BB2}" destId="{3B1825C6-1AEF-462F-A1CD-79B8796D71BF}" srcOrd="2" destOrd="0" presId="urn:microsoft.com/office/officeart/2005/8/layout/orgChart1"/>
    <dgm:cxn modelId="{A8A78B1C-0A4E-4C92-B5C4-64562D263159}" type="presParOf" srcId="{41BF1B5E-8FD9-49C9-A221-D6ACE8B91BB2}" destId="{1F8D0472-FD32-4DED-B15C-7E970B2412C0}" srcOrd="3" destOrd="0" presId="urn:microsoft.com/office/officeart/2005/8/layout/orgChart1"/>
    <dgm:cxn modelId="{177D2E55-3CBA-4D2F-99BA-9CCDB806BC44}" type="presParOf" srcId="{1F8D0472-FD32-4DED-B15C-7E970B2412C0}" destId="{9DEDC8FA-ED3E-48E4-AB8D-137BF79A65A7}" srcOrd="0" destOrd="0" presId="urn:microsoft.com/office/officeart/2005/8/layout/orgChart1"/>
    <dgm:cxn modelId="{8A88452D-2A36-4C4D-9D11-1427B14FCE8B}" type="presParOf" srcId="{9DEDC8FA-ED3E-48E4-AB8D-137BF79A65A7}" destId="{78EE5F20-2D72-4F04-BE3F-8283CA4EB390}" srcOrd="0" destOrd="0" presId="urn:microsoft.com/office/officeart/2005/8/layout/orgChart1"/>
    <dgm:cxn modelId="{9560FDCC-F9BC-432C-99E3-20BBC4874C0F}" type="presParOf" srcId="{9DEDC8FA-ED3E-48E4-AB8D-137BF79A65A7}" destId="{AF9B3472-43A8-400D-9CD2-962F2F9B4648}" srcOrd="1" destOrd="0" presId="urn:microsoft.com/office/officeart/2005/8/layout/orgChart1"/>
    <dgm:cxn modelId="{80CD0F1A-B686-418A-9800-B170D5ADF70B}" type="presParOf" srcId="{1F8D0472-FD32-4DED-B15C-7E970B2412C0}" destId="{94FAFAF2-B215-4FD2-AE42-95E99BABD887}" srcOrd="1" destOrd="0" presId="urn:microsoft.com/office/officeart/2005/8/layout/orgChart1"/>
    <dgm:cxn modelId="{56AB8DE5-054A-4AA1-A77C-2FB95444559D}" type="presParOf" srcId="{1F8D0472-FD32-4DED-B15C-7E970B2412C0}" destId="{71E9BBD6-E89A-40A3-8262-42160D86FB87}" srcOrd="2" destOrd="0" presId="urn:microsoft.com/office/officeart/2005/8/layout/orgChart1"/>
    <dgm:cxn modelId="{A3DD3669-43E0-41BB-95B5-F0CEB564DB7F}" type="presParOf" srcId="{41BF1B5E-8FD9-49C9-A221-D6ACE8B91BB2}" destId="{4C665A08-AC56-45D8-8D87-B1C7BBA58F7E}" srcOrd="4" destOrd="0" presId="urn:microsoft.com/office/officeart/2005/8/layout/orgChart1"/>
    <dgm:cxn modelId="{F39EFC33-55EB-4642-9F02-B9C58B60106D}" type="presParOf" srcId="{41BF1B5E-8FD9-49C9-A221-D6ACE8B91BB2}" destId="{82262C01-9B44-43CF-8FB1-7BB5BEE6F4FA}" srcOrd="5" destOrd="0" presId="urn:microsoft.com/office/officeart/2005/8/layout/orgChart1"/>
    <dgm:cxn modelId="{C37D2FAB-DDBD-43D1-9F00-623850149C55}" type="presParOf" srcId="{82262C01-9B44-43CF-8FB1-7BB5BEE6F4FA}" destId="{C7A3390F-3E75-4B07-AF4B-15926CB03FCA}" srcOrd="0" destOrd="0" presId="urn:microsoft.com/office/officeart/2005/8/layout/orgChart1"/>
    <dgm:cxn modelId="{7E3B3713-1B0A-4ED1-A12E-71AD4CF6B465}" type="presParOf" srcId="{C7A3390F-3E75-4B07-AF4B-15926CB03FCA}" destId="{C2E3C8C2-963F-46A6-A733-D84654932C5D}" srcOrd="0" destOrd="0" presId="urn:microsoft.com/office/officeart/2005/8/layout/orgChart1"/>
    <dgm:cxn modelId="{C02C74A9-E3F8-4884-BF49-1B7DB2485489}" type="presParOf" srcId="{C7A3390F-3E75-4B07-AF4B-15926CB03FCA}" destId="{77C70671-18DE-43E8-BF2F-71650C01E492}" srcOrd="1" destOrd="0" presId="urn:microsoft.com/office/officeart/2005/8/layout/orgChart1"/>
    <dgm:cxn modelId="{7A5F9567-F64D-4C05-9CBD-15B699465A0C}" type="presParOf" srcId="{82262C01-9B44-43CF-8FB1-7BB5BEE6F4FA}" destId="{4CDCC8AD-A25D-4C3B-8942-D1A0FD71140E}" srcOrd="1" destOrd="0" presId="urn:microsoft.com/office/officeart/2005/8/layout/orgChart1"/>
    <dgm:cxn modelId="{F266BB3A-BBB6-4BCF-87AC-E6E9860B3EA8}" type="presParOf" srcId="{82262C01-9B44-43CF-8FB1-7BB5BEE6F4FA}" destId="{88CAC4A9-BC6A-438D-BA4D-2EE944A0E38F}" srcOrd="2" destOrd="0" presId="urn:microsoft.com/office/officeart/2005/8/layout/orgChart1"/>
    <dgm:cxn modelId="{CD05F3E1-CFE0-43B7-A8E2-BE8714A43F93}" type="presParOf" srcId="{41BF1B5E-8FD9-49C9-A221-D6ACE8B91BB2}" destId="{A60D6A16-F6F3-469C-998A-AD9746314B50}" srcOrd="6" destOrd="0" presId="urn:microsoft.com/office/officeart/2005/8/layout/orgChart1"/>
    <dgm:cxn modelId="{B79CE2FF-7428-4564-B41B-255557223229}" type="presParOf" srcId="{41BF1B5E-8FD9-49C9-A221-D6ACE8B91BB2}" destId="{4441AEDA-4626-4FDD-AEB8-482A7E8505F0}" srcOrd="7" destOrd="0" presId="urn:microsoft.com/office/officeart/2005/8/layout/orgChart1"/>
    <dgm:cxn modelId="{D81F4336-9EE7-40E8-BD02-E2C8D9159348}" type="presParOf" srcId="{4441AEDA-4626-4FDD-AEB8-482A7E8505F0}" destId="{90AF87E6-E15C-48DE-B534-41D432C2A4EB}" srcOrd="0" destOrd="0" presId="urn:microsoft.com/office/officeart/2005/8/layout/orgChart1"/>
    <dgm:cxn modelId="{615C3376-1A3A-4AB4-8C6A-54E9DD818B67}" type="presParOf" srcId="{90AF87E6-E15C-48DE-B534-41D432C2A4EB}" destId="{B12AF6D6-EC2F-4B2B-992C-8D08E7129CD6}" srcOrd="0" destOrd="0" presId="urn:microsoft.com/office/officeart/2005/8/layout/orgChart1"/>
    <dgm:cxn modelId="{E6DCC811-746A-49F7-AF2F-87B6BE7E4EF4}" type="presParOf" srcId="{90AF87E6-E15C-48DE-B534-41D432C2A4EB}" destId="{35745B26-F070-41AC-9DB6-D2575B1469B0}" srcOrd="1" destOrd="0" presId="urn:microsoft.com/office/officeart/2005/8/layout/orgChart1"/>
    <dgm:cxn modelId="{5EA14959-64C0-4529-B74A-6D45E7C97BC5}" type="presParOf" srcId="{4441AEDA-4626-4FDD-AEB8-482A7E8505F0}" destId="{C2C426F3-897A-41DF-9FD6-5BE1C57312E0}" srcOrd="1" destOrd="0" presId="urn:microsoft.com/office/officeart/2005/8/layout/orgChart1"/>
    <dgm:cxn modelId="{5DB76879-33A8-4EE2-8F54-CC145BC8CBB2}" type="presParOf" srcId="{4441AEDA-4626-4FDD-AEB8-482A7E8505F0}" destId="{0BEBC681-498A-4F39-9A2E-C95C6088EB34}" srcOrd="2" destOrd="0" presId="urn:microsoft.com/office/officeart/2005/8/layout/orgChart1"/>
    <dgm:cxn modelId="{550F7A9D-3674-414F-B1CD-74520CA5803D}" type="presParOf" srcId="{41BF1B5E-8FD9-49C9-A221-D6ACE8B91BB2}" destId="{33F05970-CE5A-4B8F-B2ED-821CE72425D7}" srcOrd="8" destOrd="0" presId="urn:microsoft.com/office/officeart/2005/8/layout/orgChart1"/>
    <dgm:cxn modelId="{F8CC70D7-625A-44C0-9250-443869DE9C5E}" type="presParOf" srcId="{41BF1B5E-8FD9-49C9-A221-D6ACE8B91BB2}" destId="{750B74F5-7E79-432C-B0C5-A04C45276A2A}" srcOrd="9" destOrd="0" presId="urn:microsoft.com/office/officeart/2005/8/layout/orgChart1"/>
    <dgm:cxn modelId="{A6B7B4D3-E359-4D1F-BC48-1FAEEBA931C2}" type="presParOf" srcId="{750B74F5-7E79-432C-B0C5-A04C45276A2A}" destId="{5794658F-6AE0-446D-9AB2-1BF0383CDC68}" srcOrd="0" destOrd="0" presId="urn:microsoft.com/office/officeart/2005/8/layout/orgChart1"/>
    <dgm:cxn modelId="{0FABAA29-DBF0-4CDB-AF28-5242F9024066}" type="presParOf" srcId="{5794658F-6AE0-446D-9AB2-1BF0383CDC68}" destId="{66F06CE1-3BB0-4A85-8D70-A149B82E3BB3}" srcOrd="0" destOrd="0" presId="urn:microsoft.com/office/officeart/2005/8/layout/orgChart1"/>
    <dgm:cxn modelId="{5E504337-49DD-4C47-8DA1-EB50598375E0}" type="presParOf" srcId="{5794658F-6AE0-446D-9AB2-1BF0383CDC68}" destId="{AC80687D-CE89-4BFB-A0CD-895A4C091F36}" srcOrd="1" destOrd="0" presId="urn:microsoft.com/office/officeart/2005/8/layout/orgChart1"/>
    <dgm:cxn modelId="{5DECC6EE-8625-4EBD-A39D-7D9B09AB1808}" type="presParOf" srcId="{750B74F5-7E79-432C-B0C5-A04C45276A2A}" destId="{C1C6460D-BBC0-4C5A-948B-BA1CAF8F431F}" srcOrd="1" destOrd="0" presId="urn:microsoft.com/office/officeart/2005/8/layout/orgChart1"/>
    <dgm:cxn modelId="{A4945FB2-9C86-4C7D-93B9-52E6478DEB64}" type="presParOf" srcId="{750B74F5-7E79-432C-B0C5-A04C45276A2A}" destId="{2A7DEF8A-AA33-467C-ACC5-25E463A8AC02}" srcOrd="2" destOrd="0" presId="urn:microsoft.com/office/officeart/2005/8/layout/orgChart1"/>
    <dgm:cxn modelId="{6DD24FFE-846A-4269-A4E9-79A93146F30F}" type="presParOf" srcId="{41BF1B5E-8FD9-49C9-A221-D6ACE8B91BB2}" destId="{EE5F5FC3-2FC6-4461-ABAA-F66D65415C6E}" srcOrd="10" destOrd="0" presId="urn:microsoft.com/office/officeart/2005/8/layout/orgChart1"/>
    <dgm:cxn modelId="{CD0D6F7E-65D9-4139-A0BE-73241DDBC23B}" type="presParOf" srcId="{41BF1B5E-8FD9-49C9-A221-D6ACE8B91BB2}" destId="{B8B24061-FF3D-4B2F-9205-9859AA45EE72}" srcOrd="11" destOrd="0" presId="urn:microsoft.com/office/officeart/2005/8/layout/orgChart1"/>
    <dgm:cxn modelId="{BCE2FD3C-8DA9-4DA8-8DA0-2EA07E75E7E6}" type="presParOf" srcId="{B8B24061-FF3D-4B2F-9205-9859AA45EE72}" destId="{429910CB-8F46-4C1D-B088-A8348BDCFA4E}" srcOrd="0" destOrd="0" presId="urn:microsoft.com/office/officeart/2005/8/layout/orgChart1"/>
    <dgm:cxn modelId="{E969A3F3-DBAB-4CDD-AEA4-7F7E3C26D137}" type="presParOf" srcId="{429910CB-8F46-4C1D-B088-A8348BDCFA4E}" destId="{FDBEDC48-7610-4008-971F-97F33921F3AB}" srcOrd="0" destOrd="0" presId="urn:microsoft.com/office/officeart/2005/8/layout/orgChart1"/>
    <dgm:cxn modelId="{8EC62E85-1802-4BE1-955E-706CB46AB58A}" type="presParOf" srcId="{429910CB-8F46-4C1D-B088-A8348BDCFA4E}" destId="{8FA4DC7A-1F32-4EBD-B2D2-2B337761960E}" srcOrd="1" destOrd="0" presId="urn:microsoft.com/office/officeart/2005/8/layout/orgChart1"/>
    <dgm:cxn modelId="{ABAF409D-2ADC-41B8-AC8B-D2AFA8238201}" type="presParOf" srcId="{B8B24061-FF3D-4B2F-9205-9859AA45EE72}" destId="{096C45DE-ADFA-4070-A08E-77D21DA69EC9}" srcOrd="1" destOrd="0" presId="urn:microsoft.com/office/officeart/2005/8/layout/orgChart1"/>
    <dgm:cxn modelId="{0C2FE343-4D4E-442C-AE50-CDF2617ECD29}" type="presParOf" srcId="{B8B24061-FF3D-4B2F-9205-9859AA45EE72}" destId="{95EC7B72-4125-4746-BA92-652C046DBF7E}" srcOrd="2" destOrd="0" presId="urn:microsoft.com/office/officeart/2005/8/layout/orgChart1"/>
    <dgm:cxn modelId="{3DFB52BF-6D96-4DD5-B027-C7ACA7B2E28B}" type="presParOf" srcId="{41BF1B5E-8FD9-49C9-A221-D6ACE8B91BB2}" destId="{47EA5480-D883-4F10-85FC-3C1C11868AAB}" srcOrd="12" destOrd="0" presId="urn:microsoft.com/office/officeart/2005/8/layout/orgChart1"/>
    <dgm:cxn modelId="{3DD15C45-A94B-41A2-8A7C-31B2BB114B16}" type="presParOf" srcId="{41BF1B5E-8FD9-49C9-A221-D6ACE8B91BB2}" destId="{BCF512F6-6D36-4271-A50B-AD3B7CF7BA17}" srcOrd="13" destOrd="0" presId="urn:microsoft.com/office/officeart/2005/8/layout/orgChart1"/>
    <dgm:cxn modelId="{A362D912-15DE-4360-9067-5663AF49A837}" type="presParOf" srcId="{BCF512F6-6D36-4271-A50B-AD3B7CF7BA17}" destId="{D2ED8F56-4F8E-4086-8442-C1584854E740}" srcOrd="0" destOrd="0" presId="urn:microsoft.com/office/officeart/2005/8/layout/orgChart1"/>
    <dgm:cxn modelId="{499314C9-5410-4202-A1E6-FEBAD7174B9D}" type="presParOf" srcId="{D2ED8F56-4F8E-4086-8442-C1584854E740}" destId="{D80FB876-3642-4FE6-B768-C498CB2DC45B}" srcOrd="0" destOrd="0" presId="urn:microsoft.com/office/officeart/2005/8/layout/orgChart1"/>
    <dgm:cxn modelId="{1BA3C70D-BD42-4F67-A559-BFAB0F2CB4D2}" type="presParOf" srcId="{D2ED8F56-4F8E-4086-8442-C1584854E740}" destId="{342F66C1-B350-4FB9-B560-508F7697197D}" srcOrd="1" destOrd="0" presId="urn:microsoft.com/office/officeart/2005/8/layout/orgChart1"/>
    <dgm:cxn modelId="{7C099316-32C6-4A66-99A9-8E3F8C947C8B}" type="presParOf" srcId="{BCF512F6-6D36-4271-A50B-AD3B7CF7BA17}" destId="{C4DE29B9-0056-473F-8C63-771358C8FCEC}" srcOrd="1" destOrd="0" presId="urn:microsoft.com/office/officeart/2005/8/layout/orgChart1"/>
    <dgm:cxn modelId="{D8FFE577-E81A-4CEF-990D-51585161F71D}" type="presParOf" srcId="{BCF512F6-6D36-4271-A50B-AD3B7CF7BA17}" destId="{0774DFF6-DBE3-4AF0-BB54-65B3ED36A342}" srcOrd="2" destOrd="0" presId="urn:microsoft.com/office/officeart/2005/8/layout/orgChart1"/>
    <dgm:cxn modelId="{0CB955D9-3761-45FF-AD57-13EA14A10EE6}" type="presParOf" srcId="{FF68940A-B349-444C-AA28-D3E810C7133D}" destId="{C9882621-E649-49B7-B3B2-676FF7EF65A5}" srcOrd="2" destOrd="0" presId="urn:microsoft.com/office/officeart/2005/8/layout/orgChart1"/>
    <dgm:cxn modelId="{64DF9745-3C22-47A0-9D66-7A32E8B0164F}" type="presParOf" srcId="{F88D0735-F9A5-4838-BF81-5F41B1860C85}" destId="{ABD12F8A-A439-4063-AA10-A83967468CA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0146</cdr:x>
      <cdr:y>0.1653</cdr:y>
    </cdr:from>
    <cdr:to>
      <cdr:x>0.73889</cdr:x>
      <cdr:y>0.86059</cdr:y>
    </cdr:to>
    <cdr:sp macro="" textlink="">
      <cdr:nvSpPr>
        <cdr:cNvPr id="2" name="Oval 1"/>
        <cdr:cNvSpPr/>
      </cdr:nvSpPr>
      <cdr:spPr>
        <a:xfrm xmlns:a="http://schemas.openxmlformats.org/drawingml/2006/main">
          <a:off x="2241479" y="766147"/>
          <a:ext cx="3252506" cy="3222638"/>
        </a:xfrm>
        <a:prstGeom xmlns:a="http://schemas.openxmlformats.org/drawingml/2006/main" prst="ellipse">
          <a:avLst/>
        </a:prstGeom>
        <a:blipFill xmlns:a="http://schemas.openxmlformats.org/drawingml/2006/main">
          <a:blip xmlns:r="http://schemas.openxmlformats.org/officeDocument/2006/relationships" r:embed="rId1"/>
          <a:stretch>
            <a:fillRect/>
          </a:stretch>
        </a:blip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6719</cdr:x>
      <cdr:y>0.30251</cdr:y>
    </cdr:from>
    <cdr:to>
      <cdr:x>0.17855</cdr:x>
      <cdr:y>0.48089</cdr:y>
    </cdr:to>
    <cdr:sp macro="" textlink="">
      <cdr:nvSpPr>
        <cdr:cNvPr id="3" name="Oval 2">
          <a:extLst xmlns:a="http://schemas.openxmlformats.org/drawingml/2006/main">
            <a:ext uri="{FF2B5EF4-FFF2-40B4-BE49-F238E27FC236}">
              <a16:creationId xmlns="" xmlns:r="http://schemas.openxmlformats.org/officeDocument/2006/relationships" xmlns:p="http://schemas.openxmlformats.org/presentationml/2006/main" xmlns:a16="http://schemas.microsoft.com/office/drawing/2014/main" xmlns:lc="http://schemas.openxmlformats.org/drawingml/2006/lockedCanvas" id="{2EF9CEEA-65F2-4E31-AFB9-C410E054534C}"/>
            </a:ext>
          </a:extLst>
        </cdr:cNvPr>
        <cdr:cNvSpPr/>
      </cdr:nvSpPr>
      <cdr:spPr>
        <a:xfrm xmlns:a="http://schemas.openxmlformats.org/drawingml/2006/main">
          <a:off x="499590" y="1402121"/>
          <a:ext cx="828000" cy="826783"/>
        </a:xfrm>
        <a:prstGeom xmlns:a="http://schemas.openxmlformats.org/drawingml/2006/main" prst="ellipse">
          <a:avLst/>
        </a:prstGeom>
        <a:solidFill xmlns:a="http://schemas.openxmlformats.org/drawingml/2006/main">
          <a:schemeClr val="accent6">
            <a:lumMod val="60000"/>
            <a:lumOff val="40000"/>
          </a:schemeClr>
        </a:solidFill>
        <a:ln xmlns:a="http://schemas.openxmlformats.org/drawingml/2006/main" w="12700" cap="flat" cmpd="sng" algn="ctr">
          <a:no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F0837D9-E058-47A7-BCF4-A1F0033A0B19}" type="datetimeFigureOut">
              <a:rPr lang="en-ZA" smtClean="0"/>
              <a:t>2020/10/07</a:t>
            </a:fld>
            <a:endParaRPr lang="en-ZA"/>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1B86E70-20EC-4799-B188-756F1F908231}" type="slidenum">
              <a:rPr lang="en-ZA" smtClean="0"/>
              <a:t>‹#›</a:t>
            </a:fld>
            <a:endParaRPr lang="en-ZA"/>
          </a:p>
        </p:txBody>
      </p:sp>
    </p:spTree>
    <p:extLst>
      <p:ext uri="{BB962C8B-B14F-4D97-AF65-F5344CB8AC3E}">
        <p14:creationId xmlns:p14="http://schemas.microsoft.com/office/powerpoint/2010/main" val="41511562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9E0337-60F2-48E3-804D-D8A7DEE870FB}" type="datetimeFigureOut">
              <a:rPr lang="en-ZA" smtClean="0"/>
              <a:t>2020/10/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D6F0A4-DABF-438F-8DC1-E5244420521C}" type="slidenum">
              <a:rPr lang="en-ZA" smtClean="0"/>
              <a:t>‹#›</a:t>
            </a:fld>
            <a:endParaRPr lang="en-ZA"/>
          </a:p>
        </p:txBody>
      </p:sp>
    </p:spTree>
    <p:extLst>
      <p:ext uri="{BB962C8B-B14F-4D97-AF65-F5344CB8AC3E}">
        <p14:creationId xmlns:p14="http://schemas.microsoft.com/office/powerpoint/2010/main" val="4279309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dylandgillis"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pexels.com/@fauxel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Rebrand Cities</a:t>
            </a:r>
            <a:r>
              <a:rPr lang="en-ID"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a:t>
            </a:fld>
            <a:endParaRPr lang="en-ID">
              <a:solidFill>
                <a:prstClr val="black"/>
              </a:solidFill>
            </a:endParaRPr>
          </a:p>
        </p:txBody>
      </p:sp>
    </p:spTree>
    <p:extLst>
      <p:ext uri="{BB962C8B-B14F-4D97-AF65-F5344CB8AC3E}">
        <p14:creationId xmlns:p14="http://schemas.microsoft.com/office/powerpoint/2010/main" val="79251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re there any pathways that are blocked, can we follow a new or different pathway to get to the same result.  Has COVID-19 open/ closed some challenges or are they still relevant.</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187376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1</a:t>
            </a:fld>
            <a:endParaRPr lang="en-ZA"/>
          </a:p>
        </p:txBody>
      </p:sp>
    </p:spTree>
    <p:extLst>
      <p:ext uri="{BB962C8B-B14F-4D97-AF65-F5344CB8AC3E}">
        <p14:creationId xmlns:p14="http://schemas.microsoft.com/office/powerpoint/2010/main" val="1294110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2</a:t>
            </a:fld>
            <a:endParaRPr lang="en-ZA"/>
          </a:p>
        </p:txBody>
      </p:sp>
    </p:spTree>
    <p:extLst>
      <p:ext uri="{BB962C8B-B14F-4D97-AF65-F5344CB8AC3E}">
        <p14:creationId xmlns:p14="http://schemas.microsoft.com/office/powerpoint/2010/main" val="790625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27D6F0A4-DABF-438F-8DC1-E5244420521C}" type="slidenum">
              <a:rPr lang="en-ZA" smtClean="0"/>
              <a:t>13</a:t>
            </a:fld>
            <a:endParaRPr lang="en-ZA"/>
          </a:p>
        </p:txBody>
      </p:sp>
    </p:spTree>
    <p:extLst>
      <p:ext uri="{BB962C8B-B14F-4D97-AF65-F5344CB8AC3E}">
        <p14:creationId xmlns:p14="http://schemas.microsoft.com/office/powerpoint/2010/main" val="1005412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The alternative modes of delivery to improve performance</a:t>
            </a:r>
          </a:p>
          <a:p>
            <a:pPr marL="342900" indent="-342900">
              <a:buAutoNum type="alphaLcParenR"/>
            </a:pPr>
            <a:r>
              <a:rPr lang="en-ZA" dirty="0" smtClean="0"/>
              <a:t>Reflect on the current modes of delivery and SDM proposed</a:t>
            </a:r>
          </a:p>
          <a:p>
            <a:pPr marL="342900" indent="-342900">
              <a:buAutoNum type="alphaLcParenR"/>
            </a:pPr>
            <a:r>
              <a:rPr lang="en-ZA" dirty="0" smtClean="0"/>
              <a:t>Steps taken to resolve the challeng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2396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3422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3339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15755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1" i="0" u="none" strike="noStrike" kern="1200" dirty="0" err="1">
                <a:solidFill>
                  <a:schemeClr val="tx1"/>
                </a:solidFill>
                <a:effectLst/>
                <a:latin typeface="+mn-lt"/>
                <a:ea typeface="+mn-ea"/>
                <a:cs typeface="+mn-cs"/>
                <a:hlinkClick r:id="rId3"/>
              </a:rPr>
              <a:t>fauxels</a:t>
            </a:r>
            <a:endParaRPr lang="en-US" sz="1200" b="1" i="0" u="none" strike="noStrike" kern="1200" dirty="0">
              <a:solidFill>
                <a:schemeClr val="tx1"/>
              </a:solidFill>
              <a:effectLst/>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8</a:t>
            </a:fld>
            <a:endParaRPr lang="en-ID">
              <a:solidFill>
                <a:prstClr val="black"/>
              </a:solidFill>
            </a:endParaRPr>
          </a:p>
        </p:txBody>
      </p:sp>
    </p:spTree>
    <p:extLst>
      <p:ext uri="{BB962C8B-B14F-4D97-AF65-F5344CB8AC3E}">
        <p14:creationId xmlns:p14="http://schemas.microsoft.com/office/powerpoint/2010/main" val="42695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861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Not for</a:t>
            </a:r>
            <a:r>
              <a:rPr lang="en-US" baseline="0" dirty="0" smtClean="0"/>
              <a:t> presentation purposes</a:t>
            </a:r>
          </a:p>
          <a:p>
            <a:pPr marL="0" lvl="0" indent="0" algn="l" rtl="0">
              <a:spcBef>
                <a:spcPts val="0"/>
              </a:spcBef>
              <a:spcAft>
                <a:spcPts val="0"/>
              </a:spcAft>
              <a:buNone/>
            </a:pPr>
            <a:r>
              <a:rPr lang="en-US" sz="1200" dirty="0" smtClean="0"/>
              <a:t>This is important background information that will guide</a:t>
            </a:r>
            <a:r>
              <a:rPr lang="en-US" sz="1200" baseline="0" dirty="0" smtClean="0"/>
              <a:t> managers on what the content is focusing on </a:t>
            </a:r>
            <a:r>
              <a:rPr lang="en-US" sz="1200" dirty="0" smtClean="0"/>
              <a:t> </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3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Brainstorming</a:t>
            </a:r>
            <a:r>
              <a:rPr lang="en-US" baseline="0" dirty="0" smtClean="0"/>
              <a:t> technique:</a:t>
            </a:r>
            <a:endParaRPr lang="en-US"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smtClean="0"/>
              <a:t>Push: Driving forces in the present that affect the future</a:t>
            </a:r>
          </a:p>
          <a:p>
            <a:pPr marL="0" lvl="0" indent="0" algn="l" rtl="0">
              <a:spcBef>
                <a:spcPts val="0"/>
              </a:spcBef>
              <a:spcAft>
                <a:spcPts val="0"/>
              </a:spcAft>
              <a:buNone/>
            </a:pPr>
            <a:r>
              <a:rPr lang="en-US" dirty="0" smtClean="0"/>
              <a:t>Weights: barriers to change that keep us in the past</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47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provided by Strategic Management –</a:t>
            </a:r>
            <a:r>
              <a:rPr lang="en-US" baseline="0" dirty="0" smtClean="0"/>
              <a:t> Outcome Leaders need to develop their own please</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5</a:t>
            </a:fld>
            <a:endParaRPr lang="en-ZA"/>
          </a:p>
        </p:txBody>
      </p:sp>
    </p:spTree>
    <p:extLst>
      <p:ext uri="{BB962C8B-B14F-4D97-AF65-F5344CB8AC3E}">
        <p14:creationId xmlns:p14="http://schemas.microsoft.com/office/powerpoint/2010/main" val="417438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288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7</a:t>
            </a:fld>
            <a:endParaRPr lang="en-ZA"/>
          </a:p>
        </p:txBody>
      </p:sp>
    </p:spTree>
    <p:extLst>
      <p:ext uri="{BB962C8B-B14F-4D97-AF65-F5344CB8AC3E}">
        <p14:creationId xmlns:p14="http://schemas.microsoft.com/office/powerpoint/2010/main" val="218003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8</a:t>
            </a:fld>
            <a:endParaRPr lang="en-ZA"/>
          </a:p>
        </p:txBody>
      </p:sp>
    </p:spTree>
    <p:extLst>
      <p:ext uri="{BB962C8B-B14F-4D97-AF65-F5344CB8AC3E}">
        <p14:creationId xmlns:p14="http://schemas.microsoft.com/office/powerpoint/2010/main" val="1765230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Review the Problem/ Solution Trees to determine if there are any gaps that need to be closed (new problems/ root causes) taking into consideration the current operating environment.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9</a:t>
            </a:fld>
            <a:endParaRPr lang="en-ZA"/>
          </a:p>
        </p:txBody>
      </p:sp>
    </p:spTree>
    <p:extLst>
      <p:ext uri="{BB962C8B-B14F-4D97-AF65-F5344CB8AC3E}">
        <p14:creationId xmlns:p14="http://schemas.microsoft.com/office/powerpoint/2010/main" val="2207292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1851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62863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08379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 Content &amp; Note">
    <p:spTree>
      <p:nvGrpSpPr>
        <p:cNvPr id="1" name=""/>
        <p:cNvGrpSpPr/>
        <p:nvPr/>
      </p:nvGrpSpPr>
      <p:grpSpPr>
        <a:xfrm>
          <a:off x="0" y="0"/>
          <a:ext cx="0" cy="0"/>
          <a:chOff x="0" y="0"/>
          <a:chExt cx="0" cy="0"/>
        </a:xfrm>
      </p:grpSpPr>
      <p:sp>
        <p:nvSpPr>
          <p:cNvPr id="2" name="Title 1"/>
          <p:cNvSpPr>
            <a:spLocks noGrp="1"/>
          </p:cNvSpPr>
          <p:nvPr>
            <p:ph type="title"/>
          </p:nvPr>
        </p:nvSpPr>
        <p:spPr>
          <a:xfrm>
            <a:off x="187057" y="44451"/>
            <a:ext cx="9531405" cy="1013950"/>
          </a:xfrm>
        </p:spPr>
        <p:txBody>
          <a:bodyPr>
            <a:normAutofit/>
          </a:bodyPr>
          <a:lstStyle>
            <a:lvl1pPr>
              <a:defRPr sz="2300"/>
            </a:lvl1pPr>
          </a:lstStyle>
          <a:p>
            <a:r>
              <a:rPr lang="en-US"/>
              <a:t>Click to edit Master title style</a:t>
            </a:r>
          </a:p>
        </p:txBody>
      </p:sp>
      <p:sp>
        <p:nvSpPr>
          <p:cNvPr id="3" name="Content Placeholder 2"/>
          <p:cNvSpPr>
            <a:spLocks noGrp="1"/>
          </p:cNvSpPr>
          <p:nvPr>
            <p:ph idx="1"/>
          </p:nvPr>
        </p:nvSpPr>
        <p:spPr>
          <a:xfrm>
            <a:off x="187057" y="1233488"/>
            <a:ext cx="11817888" cy="5256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sz="1200"/>
            </a:lvl1pPr>
          </a:lstStyle>
          <a:p>
            <a:fld id="{A65E4EDC-57F8-4D5C-B13E-A981C5F2F71A}" type="slidenum">
              <a:rPr lang="en-GB" smtClean="0"/>
              <a:pPr/>
              <a:t>‹#›</a:t>
            </a:fld>
            <a:endParaRPr lang="en-GB"/>
          </a:p>
        </p:txBody>
      </p:sp>
      <p:sp>
        <p:nvSpPr>
          <p:cNvPr id="8" name="Text Placeholder 7">
            <a:extLst>
              <a:ext uri="{FF2B5EF4-FFF2-40B4-BE49-F238E27FC236}">
                <a16:creationId xmlns:a16="http://schemas.microsoft.com/office/drawing/2014/main" xmlns="" id="{D25184CD-A2F1-4EC8-A326-3D39AFC0BC76}"/>
              </a:ext>
            </a:extLst>
          </p:cNvPr>
          <p:cNvSpPr>
            <a:spLocks noGrp="1"/>
          </p:cNvSpPr>
          <p:nvPr>
            <p:ph type="body" sz="quarter" idx="13"/>
          </p:nvPr>
        </p:nvSpPr>
        <p:spPr>
          <a:xfrm>
            <a:off x="187056" y="6568073"/>
            <a:ext cx="9454798" cy="287338"/>
          </a:xfrm>
        </p:spPr>
        <p:txBody>
          <a:bodyPr>
            <a:normAutofit/>
          </a:bodyPr>
          <a:lstStyle>
            <a:lvl1pPr marL="0" indent="0">
              <a:buNone/>
              <a:defRPr sz="1200">
                <a:solidFill>
                  <a:schemeClr val="bg1">
                    <a:lumMod val="50000"/>
                  </a:schemeClr>
                </a:solidFill>
              </a:defRPr>
            </a:lvl1pPr>
          </a:lstStyle>
          <a:p>
            <a:pPr lvl="0"/>
            <a:endParaRPr lang="en-GB"/>
          </a:p>
        </p:txBody>
      </p:sp>
    </p:spTree>
    <p:extLst>
      <p:ext uri="{BB962C8B-B14F-4D97-AF65-F5344CB8AC3E}">
        <p14:creationId xmlns:p14="http://schemas.microsoft.com/office/powerpoint/2010/main" val="2581605310"/>
      </p:ext>
    </p:extLst>
  </p:cSld>
  <p:clrMapOvr>
    <a:masterClrMapping/>
  </p:clrMapOvr>
  <p:extLst mod="1">
    <p:ext uri="{DCECCB84-F9BA-43D5-87BE-67443E8EF086}">
      <p15:sldGuideLst xmlns:p15="http://schemas.microsoft.com/office/powerpoint/2012/main">
        <p15:guide id="1" orient="horz" pos="2160">
          <p15:clr>
            <a:srgbClr val="FBAE40"/>
          </p15:clr>
        </p15:guide>
        <p15:guide id="2" pos="36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345950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ectangle 12">
            <a:extLst>
              <a:ext uri="{FF2B5EF4-FFF2-40B4-BE49-F238E27FC236}">
                <a16:creationId xmlns="" xmlns:a16="http://schemas.microsoft.com/office/drawing/2014/main" id="{A83CFA3F-9BFB-394E-B024-801F5C16AFBF}"/>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6618A9FD-B820-B240-9420-22134C01C43C}"/>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CBACB319-1A34-0E43-B81E-5DE55CAF099D}"/>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6" name="Straight Connector 15">
            <a:extLst>
              <a:ext uri="{FF2B5EF4-FFF2-40B4-BE49-F238E27FC236}">
                <a16:creationId xmlns="" xmlns:a16="http://schemas.microsoft.com/office/drawing/2014/main" id="{BC8222F1-2A79-4F48-AD19-D3E7155A5973}"/>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855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4716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 xmlns:a16="http://schemas.microsoft.com/office/drawing/2014/main" id="{CCDF1EEE-0E33-4A4C-B856-E1D2CAD41B1D}"/>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A4DADB03-1FEF-B848-8AD4-1107C28DE259}"/>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000A049B-BEAF-8145-AFF0-55736D747D60}"/>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3AC4DCFB-9E5E-4343-B88F-BFF79008DD22}"/>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008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 xmlns:a16="http://schemas.microsoft.com/office/drawing/2014/main" id="{27CBF80B-F7BE-684E-B80A-86103702FD93}"/>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B7DD9B41-86AC-8F4C-900D-2BDD191394A0}"/>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29D4882F-7788-6A46-ACDB-A2C45EC5B49B}"/>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2" name="Straight Connector 21">
            <a:extLst>
              <a:ext uri="{FF2B5EF4-FFF2-40B4-BE49-F238E27FC236}">
                <a16:creationId xmlns="" xmlns:a16="http://schemas.microsoft.com/office/drawing/2014/main" id="{687CA224-252A-DB42-9CB3-604E913644B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93324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5" name="Rectangle 14">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6" name="TextBox 15">
            <a:extLst>
              <a:ext uri="{FF2B5EF4-FFF2-40B4-BE49-F238E27FC236}">
                <a16:creationId xmlns="" xmlns:a16="http://schemas.microsoft.com/office/drawing/2014/main" id="{081B3419-F562-4556-ADD7-D768E4EA415A}"/>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 xmlns:a16="http://schemas.microsoft.com/office/drawing/2014/main" id="{EFDD757A-A93F-4A87-AABA-56DAE452BE14}"/>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6" name="Straight Connector 5">
            <a:extLst>
              <a:ext uri="{FF2B5EF4-FFF2-40B4-BE49-F238E27FC236}">
                <a16:creationId xmlns="" xmlns:a16="http://schemas.microsoft.com/office/drawing/2014/main" id="{4B86A402-833A-414F-8B21-CB235D6F827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3175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E393BA3B-C4DB-9346-8386-CB62A06CFE52}"/>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9" name="TextBox 8">
            <a:extLst>
              <a:ext uri="{FF2B5EF4-FFF2-40B4-BE49-F238E27FC236}">
                <a16:creationId xmlns="" xmlns:a16="http://schemas.microsoft.com/office/drawing/2014/main" id="{034F4A44-6379-C844-B743-22309C4305B4}"/>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 xmlns:a16="http://schemas.microsoft.com/office/drawing/2014/main" id="{43DCB562-F21B-0C48-ADFD-506D203737A1}"/>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7" name="Straight Connector 16">
            <a:extLst>
              <a:ext uri="{FF2B5EF4-FFF2-40B4-BE49-F238E27FC236}">
                <a16:creationId xmlns="" xmlns:a16="http://schemas.microsoft.com/office/drawing/2014/main" id="{91C8FB76-362B-314B-8CD5-C776CC4E9D5E}"/>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00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
        <p:nvSpPr>
          <p:cNvPr id="7" name="Rectangle 6">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fld id="{516E4415-7190-4740-A70C-FF2C4EC25AE3}" type="slidenum">
              <a:rPr kumimoji="0" lang="en-ID" sz="1600" b="0" i="0" u="none" strike="noStrike" kern="0" cap="none" spc="0" normalizeH="0" baseline="0" noProof="0" smtClean="0">
                <a:ln>
                  <a:noFill/>
                </a:ln>
                <a:solidFill>
                  <a:srgbClr val="FFFFFF"/>
                </a:solidFill>
                <a:effectLst/>
                <a:uLnTx/>
                <a:uFillTx/>
                <a:latin typeface="Segoe UI Light"/>
              </a:rPr>
              <a:t>‹#›</a:t>
            </a:fld>
            <a:endParaRPr kumimoji="0" lang="en-ID" sz="1600" b="0" i="0" u="none" strike="noStrike" kern="0" cap="none" spc="0" normalizeH="0" baseline="0" noProof="0" dirty="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a:t>
            </a:r>
            <a:r>
              <a:rPr lang="en-US" sz="800" baseline="0" dirty="0" smtClean="0">
                <a:solidFill>
                  <a:srgbClr val="FFFFFF">
                    <a:lumMod val="65000"/>
                  </a:srgbClr>
                </a:solidFill>
                <a:latin typeface="Segoe UI Light" panose="020B0502040204020203" pitchFamily="34" charset="0"/>
                <a:cs typeface="Segoe UI Light" panose="020B0502040204020203" pitchFamily="34" charset="0"/>
              </a:rPr>
              <a:t>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 xmlns:a16="http://schemas.microsoft.com/office/drawing/2014/main"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 xmlns:a16="http://schemas.microsoft.com/office/drawing/2014/main"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Rounded Rectangle 11">
            <a:extLst>
              <a:ext uri="{FF2B5EF4-FFF2-40B4-BE49-F238E27FC236}">
                <a16:creationId xmlns="" xmlns:a16="http://schemas.microsoft.com/office/drawing/2014/main"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userDrawn="1"/>
        </p:nvCxnSpPr>
        <p:spPr>
          <a:xfrm flipV="1">
            <a:off x="4786604" y="910724"/>
            <a:ext cx="7056822" cy="13007"/>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000000"/>
              </a:solidFill>
              <a:effectLst/>
              <a:uLnTx/>
              <a:uFillTx/>
              <a:latin typeface="Georgia"/>
            </a:endParaRPr>
          </a:p>
        </p:txBody>
      </p:sp>
    </p:spTree>
    <p:extLst>
      <p:ext uri="{BB962C8B-B14F-4D97-AF65-F5344CB8AC3E}">
        <p14:creationId xmlns:p14="http://schemas.microsoft.com/office/powerpoint/2010/main" val="70474665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110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3989266A-499E-2343-B303-4B178C30E570}"/>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2F05756C-735A-1542-A4CF-6C2913A561ED}"/>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5D58A4D1-5981-C340-BAD7-3ED40B65EE05}"/>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119B55FB-0CFF-5E46-A4B3-3D6E62F4E84A}"/>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7526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D872BFBD-2615-9640-9703-8EEEC0944B27}"/>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D55BD58D-CDDC-0B45-BA7A-2D58ACD8E36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DDF31592-E398-C448-9356-F7FEFD601356}"/>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FD5EB6E1-447A-E449-9E7F-AD2F2F82B068}"/>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001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CD772A1-19DF-FC40-93B0-113A11233C2C}"/>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60F58FA3-9F95-6E4E-8DB3-1983AF82D083}"/>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F8220442-8EC3-8142-8D68-4D0002EC4B0E}"/>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859C459C-D3A2-F444-AA24-2FF13DDB64C9}"/>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426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4F8C710-60E3-E749-A6EB-7EE4C02A26E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F046843F-F29D-064F-B757-5F1CF13F0C7B}"/>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64F24F20-2E9E-974F-B756-97AD6FA57349}"/>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1FDA2B64-5758-0541-A488-9683D27A3A67}"/>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118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41117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44674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t>2020/10/07</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74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t>2020/10/07</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8843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t>2020/10/07</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7009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358907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51930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t>2020/10/07</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t>‹#›</a:t>
            </a:fld>
            <a:endParaRPr lang="en-ZA"/>
          </a:p>
        </p:txBody>
      </p:sp>
    </p:spTree>
    <p:extLst>
      <p:ext uri="{BB962C8B-B14F-4D97-AF65-F5344CB8AC3E}">
        <p14:creationId xmlns:p14="http://schemas.microsoft.com/office/powerpoint/2010/main" val="4283765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A607F61-C91A-47FF-BBFB-DF776E24F283}"/>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8082631-599A-467D-B49A-E699D64CA6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3716807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4" orient="horz" pos="960">
          <p15:clr>
            <a:srgbClr val="F26B43"/>
          </p15:clr>
        </p15:guide>
        <p15:guide id="5" orient="horz" pos="81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3.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jp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298" y="0"/>
            <a:ext cx="12192000" cy="6866655"/>
            <a:chOff x="-13298" y="0"/>
            <a:chExt cx="12192000" cy="6866655"/>
          </a:xfrm>
        </p:grpSpPr>
        <p:sp>
          <p:nvSpPr>
            <p:cNvPr id="6" name="Rectangle 5"/>
            <p:cNvSpPr/>
            <p:nvPr/>
          </p:nvSpPr>
          <p:spPr>
            <a:xfrm>
              <a:off x="-13298" y="0"/>
              <a:ext cx="12192000" cy="6866655"/>
            </a:xfrm>
            <a:prstGeom prst="rect">
              <a:avLst/>
            </a:prstGeom>
            <a: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a:extLst>
                <a:ext uri="{FF2B5EF4-FFF2-40B4-BE49-F238E27FC236}">
                  <a16:creationId xmlns="" xmlns:a16="http://schemas.microsoft.com/office/drawing/2014/main" id="{DF200334-FF46-1D40-B2FE-CA974742C6B8}"/>
                </a:ext>
              </a:extLst>
            </p:cNvPr>
            <p:cNvSpPr/>
            <p:nvPr/>
          </p:nvSpPr>
          <p:spPr>
            <a:xfrm>
              <a:off x="-13298" y="3963885"/>
              <a:ext cx="12192000" cy="2902770"/>
            </a:xfrm>
            <a:prstGeom prst="rect">
              <a:avLst/>
            </a:prstGeom>
            <a:gradFill flip="none" rotWithShape="1">
              <a:gsLst>
                <a:gs pos="0">
                  <a:schemeClr val="bg1"/>
                </a:gs>
                <a:gs pos="100000">
                  <a:schemeClr val="bg1">
                    <a:alpha val="5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Rectangle 9">
              <a:extLst>
                <a:ext uri="{FF2B5EF4-FFF2-40B4-BE49-F238E27FC236}">
                  <a16:creationId xmlns="" xmlns:a16="http://schemas.microsoft.com/office/drawing/2014/main" id="{B1364B69-20F5-6548-883F-0675B1C2D27B}"/>
                </a:ext>
              </a:extLst>
            </p:cNvPr>
            <p:cNvSpPr/>
            <p:nvPr/>
          </p:nvSpPr>
          <p:spPr>
            <a:xfrm>
              <a:off x="3597112" y="0"/>
              <a:ext cx="4639726" cy="61200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 xmlns:a16="http://schemas.microsoft.com/office/drawing/2014/main" id="{DADDC354-7EBE-3548-9016-82A6B02C3C95}"/>
                </a:ext>
              </a:extLst>
            </p:cNvPr>
            <p:cNvSpPr txBox="1">
              <a:spLocks/>
            </p:cNvSpPr>
            <p:nvPr/>
          </p:nvSpPr>
          <p:spPr>
            <a:xfrm>
              <a:off x="3714161" y="4162821"/>
              <a:ext cx="4522676" cy="2215991"/>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00000"/>
                </a:lnSpc>
              </a:pPr>
              <a:r>
                <a:rPr lang="en-US" sz="3600" dirty="0" smtClean="0">
                  <a:solidFill>
                    <a:srgbClr val="FFFFFF"/>
                  </a:solidFill>
                  <a:latin typeface="Georgia"/>
                </a:rPr>
                <a:t>Outcome </a:t>
              </a:r>
              <a:r>
                <a:rPr lang="en-US" sz="3600" dirty="0">
                  <a:solidFill>
                    <a:srgbClr val="FFFFFF"/>
                  </a:solidFill>
                  <a:latin typeface="Georgia"/>
                </a:rPr>
                <a:t>6</a:t>
              </a:r>
              <a:r>
                <a:rPr lang="en-US" sz="3600" dirty="0" smtClean="0">
                  <a:solidFill>
                    <a:srgbClr val="FFFFFF"/>
                  </a:solidFill>
                  <a:latin typeface="Georgia"/>
                </a:rPr>
                <a:t>: High performing ethical </a:t>
              </a:r>
              <a:r>
                <a:rPr lang="en-US" sz="3600" dirty="0" err="1" smtClean="0">
                  <a:solidFill>
                    <a:srgbClr val="FFFFFF"/>
                  </a:solidFill>
                  <a:latin typeface="Georgia"/>
                </a:rPr>
                <a:t>organisation</a:t>
              </a:r>
              <a:r>
                <a:rPr lang="en-US" sz="3600" dirty="0" smtClean="0">
                  <a:solidFill>
                    <a:srgbClr val="FFFFFF"/>
                  </a:solidFill>
                  <a:latin typeface="Georgia"/>
                </a:rPr>
                <a:t> </a:t>
              </a:r>
              <a:endParaRPr lang="en-US" sz="3600" dirty="0">
                <a:solidFill>
                  <a:srgbClr val="FFFFFF"/>
                </a:solidFill>
                <a:latin typeface="Georgia"/>
              </a:endParaRPr>
            </a:p>
            <a:p>
              <a:pPr algn="ctr">
                <a:lnSpc>
                  <a:spcPct val="100000"/>
                </a:lnSpc>
              </a:pPr>
              <a:endParaRPr lang="en-ID" sz="3600" dirty="0">
                <a:solidFill>
                  <a:srgbClr val="FFFFFF"/>
                </a:solidFill>
                <a:latin typeface="Georgia"/>
              </a:endParaRPr>
            </a:p>
          </p:txBody>
        </p:sp>
        <p:cxnSp>
          <p:nvCxnSpPr>
            <p:cNvPr id="12" name="Straight Connector 11">
              <a:extLst>
                <a:ext uri="{FF2B5EF4-FFF2-40B4-BE49-F238E27FC236}">
                  <a16:creationId xmlns="" xmlns:a16="http://schemas.microsoft.com/office/drawing/2014/main" id="{B448019C-7EFB-F54B-AD80-B5CB12A12316}"/>
                </a:ext>
              </a:extLst>
            </p:cNvPr>
            <p:cNvCxnSpPr>
              <a:cxnSpLocks/>
            </p:cNvCxnSpPr>
            <p:nvPr/>
          </p:nvCxnSpPr>
          <p:spPr>
            <a:xfrm flipH="1">
              <a:off x="5028582" y="3962401"/>
              <a:ext cx="34749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52161AD9-4FEA-DE47-AB7A-0D3D9F34C056}"/>
                </a:ext>
              </a:extLst>
            </p:cNvPr>
            <p:cNvCxnSpPr>
              <a:cxnSpLocks/>
            </p:cNvCxnSpPr>
            <p:nvPr/>
          </p:nvCxnSpPr>
          <p:spPr>
            <a:xfrm flipH="1">
              <a:off x="4289475" y="3962401"/>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79" y="6029325"/>
              <a:ext cx="2847975" cy="828675"/>
            </a:xfrm>
            <a:prstGeom prst="rect">
              <a:avLst/>
            </a:prstGeom>
          </p:spPr>
        </p:pic>
        <p:sp>
          <p:nvSpPr>
            <p:cNvPr id="18" name="Title 1">
              <a:extLst>
                <a:ext uri="{FF2B5EF4-FFF2-40B4-BE49-F238E27FC236}">
                  <a16:creationId xmlns="" xmlns:a16="http://schemas.microsoft.com/office/drawing/2014/main" id="{DADDC354-7EBE-3548-9016-82A6B02C3C95}"/>
                </a:ext>
              </a:extLst>
            </p:cNvPr>
            <p:cNvSpPr txBox="1">
              <a:spLocks/>
            </p:cNvSpPr>
            <p:nvPr/>
          </p:nvSpPr>
          <p:spPr>
            <a:xfrm>
              <a:off x="3876071" y="361407"/>
              <a:ext cx="4081806" cy="3223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50000"/>
                </a:lnSpc>
              </a:pPr>
              <a:r>
                <a:rPr lang="en-US" sz="3600" dirty="0" smtClean="0">
                  <a:solidFill>
                    <a:srgbClr val="FFFFFF"/>
                  </a:solidFill>
                  <a:latin typeface="Georgia"/>
                </a:rPr>
                <a:t>2020 ANNUAL STRATEGIC PLANNING SESSION</a:t>
              </a:r>
              <a:endParaRPr lang="en-ID" sz="3600" dirty="0">
                <a:solidFill>
                  <a:srgbClr val="FFFFFF"/>
                </a:solidFill>
                <a:latin typeface="Georgia"/>
              </a:endParaRPr>
            </a:p>
          </p:txBody>
        </p:sp>
      </p:grpSp>
    </p:spTree>
    <p:extLst>
      <p:ext uri="{BB962C8B-B14F-4D97-AF65-F5344CB8AC3E}">
        <p14:creationId xmlns:p14="http://schemas.microsoft.com/office/powerpoint/2010/main" val="33871441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TextBox 8">
            <a:extLst>
              <a:ext uri="{FF2B5EF4-FFF2-40B4-BE49-F238E27FC236}">
                <a16:creationId xmlns="" xmlns:a16="http://schemas.microsoft.com/office/drawing/2014/main"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1: Improved safety and security</a:t>
            </a:r>
            <a:endParaRPr lang="da-DK" sz="1400" b="1" dirty="0">
              <a:solidFill>
                <a:srgbClr val="FFFFFF"/>
              </a:solidFill>
              <a:latin typeface="Segoe UI Light"/>
              <a:cs typeface="Segoe UI" panose="020B0502040204020203" pitchFamily="34" charset="0"/>
            </a:endParaRPr>
          </a:p>
        </p:txBody>
      </p:sp>
      <p:sp>
        <p:nvSpPr>
          <p:cNvPr id="10"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Solution tree</a:t>
            </a:r>
            <a:endParaRPr kumimoji="0" lang="en-US" sz="4000" b="1" i="0" u="none" strike="noStrike" kern="1200" cap="none" spc="0" normalizeH="0" baseline="0" noProof="0" dirty="0">
              <a:ln>
                <a:noFill/>
              </a:ln>
              <a:solidFill>
                <a:srgbClr val="000000"/>
              </a:solidFill>
              <a:effectLst/>
              <a:uLnTx/>
              <a:uFillTx/>
              <a:latin typeface="Georgia"/>
            </a:endParaRPr>
          </a:p>
        </p:txBody>
      </p:sp>
      <p:graphicFrame>
        <p:nvGraphicFramePr>
          <p:cNvPr id="75" name="Diagram 74"/>
          <p:cNvGraphicFramePr/>
          <p:nvPr>
            <p:extLst>
              <p:ext uri="{D42A27DB-BD31-4B8C-83A1-F6EECF244321}">
                <p14:modId xmlns:p14="http://schemas.microsoft.com/office/powerpoint/2010/main" val="1222020814"/>
              </p:ext>
            </p:extLst>
          </p:nvPr>
        </p:nvGraphicFramePr>
        <p:xfrm>
          <a:off x="204144" y="1035571"/>
          <a:ext cx="11987856" cy="66262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273614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644" y="108204"/>
            <a:ext cx="10805012"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3431792661"/>
              </p:ext>
            </p:extLst>
          </p:nvPr>
        </p:nvGraphicFramePr>
        <p:xfrm>
          <a:off x="269136" y="1191764"/>
          <a:ext cx="11574290" cy="4659879"/>
        </p:xfrm>
        <a:graphic>
          <a:graphicData uri="http://schemas.openxmlformats.org/drawingml/2006/table">
            <a:tbl>
              <a:tblPr firstRow="1" firstCol="1" bandRow="1"/>
              <a:tblGrid>
                <a:gridCol w="1890740">
                  <a:extLst>
                    <a:ext uri="{9D8B030D-6E8A-4147-A177-3AD203B41FA5}">
                      <a16:colId xmlns:a16="http://schemas.microsoft.com/office/drawing/2014/main" xmlns="" val="2672124337"/>
                    </a:ext>
                  </a:extLst>
                </a:gridCol>
                <a:gridCol w="3168869">
                  <a:extLst>
                    <a:ext uri="{9D8B030D-6E8A-4147-A177-3AD203B41FA5}">
                      <a16:colId xmlns:a16="http://schemas.microsoft.com/office/drawing/2014/main" xmlns="" val="102369112"/>
                    </a:ext>
                  </a:extLst>
                </a:gridCol>
                <a:gridCol w="1907627">
                  <a:extLst>
                    <a:ext uri="{9D8B030D-6E8A-4147-A177-3AD203B41FA5}">
                      <a16:colId xmlns:a16="http://schemas.microsoft.com/office/drawing/2014/main" xmlns="" val="4122419918"/>
                    </a:ext>
                  </a:extLst>
                </a:gridCol>
                <a:gridCol w="1623849">
                  <a:extLst>
                    <a:ext uri="{9D8B030D-6E8A-4147-A177-3AD203B41FA5}">
                      <a16:colId xmlns:a16="http://schemas.microsoft.com/office/drawing/2014/main" xmlns="" val="1025326353"/>
                    </a:ext>
                  </a:extLst>
                </a:gridCol>
                <a:gridCol w="2983205">
                  <a:extLst>
                    <a:ext uri="{9D8B030D-6E8A-4147-A177-3AD203B41FA5}">
                      <a16:colId xmlns:a16="http://schemas.microsoft.com/office/drawing/2014/main" xmlns="" val="1802985295"/>
                    </a:ext>
                  </a:extLst>
                </a:gridCol>
              </a:tblGrid>
              <a:tr h="245154">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1145160">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Impact (Strategic Plan)</a:t>
                      </a:r>
                    </a:p>
                    <a:p>
                      <a:pPr marL="0" marR="0" indent="0" algn="l" defTabSz="914400" eaLnBrk="1" fontAlgn="auto" latinLnBrk="0" hangingPunct="1">
                        <a:lnSpc>
                          <a:spcPct val="115000"/>
                        </a:lnSpc>
                        <a:spcBef>
                          <a:spcPts val="0"/>
                        </a:spcBef>
                        <a:spcAft>
                          <a:spcPts val="0"/>
                        </a:spcAft>
                        <a:buClrTx/>
                        <a:buSzTx/>
                        <a:buFontTx/>
                        <a:buNone/>
                        <a:tabLst/>
                        <a:defRPr/>
                      </a:pPr>
                      <a:r>
                        <a:rPr lang="en-US" sz="1400" b="0" i="0" u="none" strike="noStrike" baseline="0" dirty="0" smtClean="0">
                          <a:solidFill>
                            <a:schemeClr val="tx1"/>
                          </a:solidFill>
                          <a:latin typeface="+mj-lt"/>
                          <a:ea typeface="+mn-ea"/>
                          <a:cs typeface="+mn-cs"/>
                        </a:rPr>
                        <a:t>Safe and empowered communities through sustainable economic development </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634807">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r>
                        <a:rPr lang="en-GB" sz="1400" b="1" i="0" u="none" strike="noStrike" baseline="0" dirty="0" smtClean="0">
                          <a:solidFill>
                            <a:schemeClr val="tx1"/>
                          </a:solidFill>
                          <a:latin typeface="+mj-lt"/>
                          <a:ea typeface="+mn-ea"/>
                          <a:cs typeface="+mn-cs"/>
                        </a:rPr>
                        <a:t>Outcome (Strategic Plan)</a:t>
                      </a:r>
                      <a:endParaRPr lang="en-US" sz="1400" b="1" i="0" u="none" strike="noStrike" baseline="0" dirty="0" smtClean="0">
                        <a:solidFill>
                          <a:schemeClr val="tx1"/>
                        </a:solidFill>
                        <a:latin typeface="+mj-lt"/>
                        <a:ea typeface="+mn-ea"/>
                        <a:cs typeface="+mn-cs"/>
                      </a:endParaRPr>
                    </a:p>
                    <a:p>
                      <a:r>
                        <a:rPr lang="en-US" sz="1400" b="0" i="0" u="none" strike="noStrike" kern="1200" baseline="0" dirty="0" smtClean="0">
                          <a:solidFill>
                            <a:schemeClr val="tx1"/>
                          </a:solidFill>
                          <a:latin typeface="+mj-lt"/>
                          <a:ea typeface="+mn-ea"/>
                          <a:cs typeface="+mn-cs"/>
                        </a:rPr>
                        <a:t>High performing ethical </a:t>
                      </a:r>
                      <a:r>
                        <a:rPr lang="en-US" sz="1400" b="0" i="0" u="none" strike="noStrike" kern="1200" baseline="0" dirty="0" err="1" smtClean="0">
                          <a:solidFill>
                            <a:schemeClr val="tx1"/>
                          </a:solidFill>
                          <a:latin typeface="+mj-lt"/>
                          <a:ea typeface="+mn-ea"/>
                          <a:cs typeface="+mn-cs"/>
                        </a:rPr>
                        <a:t>organisation</a:t>
                      </a:r>
                      <a:r>
                        <a:rPr lang="en-US" sz="1400" b="0" i="0" u="none" strike="noStrike" kern="1200" baseline="0" dirty="0" smtClean="0">
                          <a:solidFill>
                            <a:schemeClr val="tx1"/>
                          </a:solidFill>
                          <a:latin typeface="+mj-lt"/>
                          <a:ea typeface="+mn-ea"/>
                          <a:cs typeface="+mn-cs"/>
                        </a:rPr>
                        <a:t> </a:t>
                      </a:r>
                      <a:endParaRPr lang="en-GB" sz="1400" b="0" i="0" u="none" strike="noStrike" kern="1200" baseline="0" dirty="0">
                        <a:solidFill>
                          <a:schemeClr val="tx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r>
                        <a:rPr lang="en-GB" sz="1400" b="0" i="0" u="none" strike="noStrike" baseline="0" smtClean="0">
                          <a:solidFill>
                            <a:schemeClr val="tx1"/>
                          </a:solidFill>
                          <a:latin typeface="+mj-lt"/>
                          <a:ea typeface="+mn-ea"/>
                          <a:cs typeface="+mn-cs"/>
                        </a:rPr>
                        <a:t>N/A</a:t>
                      </a:r>
                      <a:endParaRPr lang="en-GB" sz="1400" b="0" i="0" u="none" strike="noStrike" kern="1200" cap="none" baseline="0" dirty="0">
                        <a:solidFill>
                          <a:schemeClr val="tx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GB" sz="1400" b="0" i="0" u="none" strike="noStrike" baseline="0" smtClean="0">
                          <a:solidFill>
                            <a:schemeClr val="tx1"/>
                          </a:solidFill>
                          <a:latin typeface="+mj-lt"/>
                          <a:ea typeface="+mn-ea"/>
                          <a:cs typeface="+mn-cs"/>
                        </a:rPr>
                        <a:t>N/A</a:t>
                      </a:r>
                      <a:endParaRPr lang="en-GB" sz="1400" b="0" i="0" u="none" strike="noStrike" kern="1200" cap="none" baseline="0" dirty="0">
                        <a:solidFill>
                          <a:schemeClr val="tx1"/>
                        </a:solidFill>
                        <a:latin typeface="+mj-lt"/>
                        <a:ea typeface="+mn-ea"/>
                        <a:cs typeface="+mn-cs"/>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GB" sz="1400" b="0" i="0" u="none" strike="noStrike" baseline="0" smtClean="0">
                          <a:solidFill>
                            <a:schemeClr val="tx1"/>
                          </a:solidFill>
                          <a:latin typeface="+mj-lt"/>
                          <a:ea typeface="+mn-ea"/>
                          <a:cs typeface="+mn-cs"/>
                        </a:rPr>
                        <a:t>N/A</a:t>
                      </a:r>
                      <a:endParaRPr lang="en-GB" sz="1400" b="0" i="0" u="none" strike="noStrike" kern="1200" cap="none" baseline="0" dirty="0">
                        <a:solidFill>
                          <a:schemeClr val="tx1"/>
                        </a:solidFill>
                        <a:latin typeface="+mj-lt"/>
                        <a:ea typeface="+mn-ea"/>
                        <a:cs typeface="+mn-cs"/>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smtClean="0">
                          <a:solidFill>
                            <a:schemeClr val="tx1"/>
                          </a:solidFill>
                          <a:latin typeface="+mj-lt"/>
                          <a:ea typeface="+mn-ea"/>
                          <a:cs typeface="+mn-cs"/>
                        </a:rPr>
                        <a:t>N/A</a:t>
                      </a:r>
                      <a:endParaRPr lang="en-US" sz="1400" b="0" i="0" u="none" strike="noStrike" kern="1200" cap="non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458892">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Output (current)</a:t>
                      </a:r>
                    </a:p>
                    <a:p>
                      <a:pPr algn="l">
                        <a:lnSpc>
                          <a:spcPct val="115000"/>
                        </a:lnSpc>
                        <a:spcAft>
                          <a:spcPts val="0"/>
                        </a:spcAft>
                      </a:pPr>
                      <a:r>
                        <a:rPr lang="en-GB" sz="1400" b="0" i="0" u="none" strike="noStrike" kern="1200" cap="none" baseline="0" dirty="0" smtClean="0">
                          <a:solidFill>
                            <a:schemeClr val="tx1"/>
                          </a:solidFill>
                          <a:latin typeface="+mj-lt"/>
                          <a:ea typeface="+mn-ea"/>
                          <a:cs typeface="+mn-cs"/>
                        </a:rPr>
                        <a:t>Clean audit outcome</a:t>
                      </a:r>
                      <a:endParaRPr lang="en-US" sz="1400" b="0" i="0" u="none" strike="noStrike" kern="1200" cap="non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Audit outcome</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Unqualified audit opinion with findings</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Unqualified audit opinion with reduced findings</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938535">
                <a:tc>
                  <a:txBody>
                    <a:bodyPr/>
                    <a:lstStyle/>
                    <a:p>
                      <a:pPr algn="l">
                        <a:lnSpc>
                          <a:spcPct val="115000"/>
                        </a:lnSpc>
                        <a:spcAft>
                          <a:spcPts val="0"/>
                        </a:spcAft>
                      </a:pPr>
                      <a:r>
                        <a:rPr lang="en-GB" sz="1400" b="0" i="0" u="none" strike="noStrike" kern="1200" cap="none" baseline="0" dirty="0" smtClean="0">
                          <a:solidFill>
                            <a:schemeClr val="tx1"/>
                          </a:solidFill>
                          <a:latin typeface="+mj-lt"/>
                          <a:ea typeface="+mn-ea"/>
                          <a:cs typeface="+mn-cs"/>
                        </a:rPr>
                        <a:t>Accountable financial performance</a:t>
                      </a:r>
                      <a:endParaRPr lang="en-US" sz="1400" b="0" i="0" u="none" strike="noStrike" kern="1200" cap="non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Approved Integrated finance and supply chain management strategy</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Approved Integrated finance and supply chain management strategy</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Approved business case for revenue generation and retention</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79013">
                <a:tc>
                  <a:txBody>
                    <a:bodyPr/>
                    <a:lstStyle/>
                    <a:p>
                      <a:pPr algn="l">
                        <a:lnSpc>
                          <a:spcPct val="115000"/>
                        </a:lnSpc>
                        <a:spcAft>
                          <a:spcPts val="0"/>
                        </a:spcAft>
                      </a:pPr>
                      <a:r>
                        <a:rPr lang="en-GB" sz="1400" b="0" i="0" u="none" strike="noStrike" kern="1200" cap="none" baseline="0" dirty="0" smtClean="0">
                          <a:solidFill>
                            <a:schemeClr val="tx1"/>
                          </a:solidFill>
                          <a:latin typeface="+mj-lt"/>
                          <a:ea typeface="+mn-ea"/>
                          <a:cs typeface="+mn-cs"/>
                        </a:rPr>
                        <a:t>Preferential procurement </a:t>
                      </a:r>
                      <a:endParaRPr lang="en-US" sz="1400" b="0" i="0" u="none" strike="noStrike" kern="1200" cap="non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dirty="0">
                          <a:solidFill>
                            <a:schemeClr val="tx1"/>
                          </a:solidFill>
                          <a:latin typeface="+mj-lt"/>
                          <a:ea typeface="+mn-ea"/>
                          <a:cs typeface="+mn-cs"/>
                        </a:rPr>
                        <a:t>Percentage of tenders above R30 million awarded to designated groups</a:t>
                      </a:r>
                      <a:endParaRPr lang="en-ZA" sz="1400" b="0" i="0" u="none" strike="noStrike" kern="1200" cap="none"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30%</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dirty="0">
                          <a:solidFill>
                            <a:schemeClr val="tx1"/>
                          </a:solidFill>
                          <a:latin typeface="+mj-lt"/>
                          <a:ea typeface="+mn-ea"/>
                          <a:cs typeface="+mn-cs"/>
                        </a:rPr>
                        <a:t>30% </a:t>
                      </a:r>
                      <a:endParaRPr lang="en-ZA" sz="1400" b="0" i="0" u="none" strike="noStrike" kern="1200" cap="none"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endParaRPr lang="en-ZA"/>
                    </a:p>
                  </a:txBody>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40738429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4008768035"/>
              </p:ext>
            </p:extLst>
          </p:nvPr>
        </p:nvGraphicFramePr>
        <p:xfrm>
          <a:off x="325413" y="1285403"/>
          <a:ext cx="11574290" cy="4133641"/>
        </p:xfrm>
        <a:graphic>
          <a:graphicData uri="http://schemas.openxmlformats.org/drawingml/2006/table">
            <a:tbl>
              <a:tblPr firstRow="1" firstCol="1" bandRow="1"/>
              <a:tblGrid>
                <a:gridCol w="2115500">
                  <a:extLst>
                    <a:ext uri="{9D8B030D-6E8A-4147-A177-3AD203B41FA5}">
                      <a16:colId xmlns:a16="http://schemas.microsoft.com/office/drawing/2014/main" xmlns="" val="2672124337"/>
                    </a:ext>
                  </a:extLst>
                </a:gridCol>
                <a:gridCol w="3150152">
                  <a:extLst>
                    <a:ext uri="{9D8B030D-6E8A-4147-A177-3AD203B41FA5}">
                      <a16:colId xmlns:a16="http://schemas.microsoft.com/office/drawing/2014/main" xmlns="" val="102369112"/>
                    </a:ext>
                  </a:extLst>
                </a:gridCol>
                <a:gridCol w="1473200">
                  <a:extLst>
                    <a:ext uri="{9D8B030D-6E8A-4147-A177-3AD203B41FA5}">
                      <a16:colId xmlns:a16="http://schemas.microsoft.com/office/drawing/2014/main" xmlns="" val="4122419918"/>
                    </a:ext>
                  </a:extLst>
                </a:gridCol>
                <a:gridCol w="1473200">
                  <a:extLst>
                    <a:ext uri="{9D8B030D-6E8A-4147-A177-3AD203B41FA5}">
                      <a16:colId xmlns:a16="http://schemas.microsoft.com/office/drawing/2014/main" xmlns="" val="1025326353"/>
                    </a:ext>
                  </a:extLst>
                </a:gridCol>
                <a:gridCol w="3362238">
                  <a:extLst>
                    <a:ext uri="{9D8B030D-6E8A-4147-A177-3AD203B41FA5}">
                      <a16:colId xmlns:a16="http://schemas.microsoft.com/office/drawing/2014/main" xmlns="" val="1802985295"/>
                    </a:ext>
                  </a:extLst>
                </a:gridCol>
              </a:tblGrid>
              <a:tr h="30148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525687">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rtl="0" eaLnBrk="1" fontAlgn="auto" latinLnBrk="0" hangingPunct="1">
                        <a:lnSpc>
                          <a:spcPct val="115000"/>
                        </a:lnSpc>
                        <a:spcBef>
                          <a:spcPts val="0"/>
                        </a:spcBef>
                        <a:spcAft>
                          <a:spcPts val="0"/>
                        </a:spcAft>
                        <a:buClrTx/>
                        <a:buSzTx/>
                        <a:buFontTx/>
                        <a:buNone/>
                        <a:tabLst/>
                        <a:defRPr/>
                      </a:pPr>
                      <a:r>
                        <a:rPr lang="en-GB" sz="1400" b="1" i="0" u="none" strike="noStrike" kern="1200" baseline="0" dirty="0" smtClean="0">
                          <a:solidFill>
                            <a:schemeClr val="tx1"/>
                          </a:solidFill>
                          <a:latin typeface="Calibri"/>
                          <a:ea typeface=""/>
                          <a:cs typeface=""/>
                        </a:rPr>
                        <a:t>Output (new)</a:t>
                      </a:r>
                    </a:p>
                    <a:p>
                      <a:pPr algn="just">
                        <a:lnSpc>
                          <a:spcPct val="115000"/>
                        </a:lnSpc>
                        <a:spcAft>
                          <a:spcPts val="0"/>
                        </a:spcAft>
                      </a:pPr>
                      <a:endParaRPr lang="en-GB" sz="1400" b="1" i="0" u="none" strike="noStrike" kern="1200" baseline="0" dirty="0" smtClean="0">
                        <a:solidFill>
                          <a:schemeClr val="tx1"/>
                        </a:solidFill>
                        <a:latin typeface="Calibri"/>
                        <a:ea typeface=""/>
                        <a:cs typeface=""/>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472966">
                <a:tc>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35046">
                <a:tc>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64462">
                <a:tc>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2566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723146">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15000"/>
                        </a:lnSpc>
                        <a:spcAft>
                          <a:spcPts val="0"/>
                        </a:spcAft>
                      </a:pPr>
                      <a:r>
                        <a:rPr lang="en-US" sz="1400" b="1" i="0" u="none" strike="noStrike" baseline="0" dirty="0" smtClean="0">
                          <a:solidFill>
                            <a:schemeClr val="tx1"/>
                          </a:solidFill>
                          <a:latin typeface="+mj-lt"/>
                          <a:ea typeface="+mn-ea"/>
                          <a:cs typeface="+mn-cs"/>
                        </a:rPr>
                        <a:t>Strategic Operational Outputs</a:t>
                      </a:r>
                    </a:p>
                    <a:p>
                      <a:pPr algn="l">
                        <a:lnSpc>
                          <a:spcPct val="115000"/>
                        </a:lnSpc>
                        <a:spcAft>
                          <a:spcPts val="0"/>
                        </a:spcAft>
                      </a:pPr>
                      <a:r>
                        <a:rPr lang="en-US" sz="1400" b="0" i="0" u="none" strike="noStrike" baseline="0" dirty="0" smtClean="0">
                          <a:solidFill>
                            <a:schemeClr val="tx1"/>
                          </a:solidFill>
                          <a:latin typeface="+mj-lt"/>
                          <a:ea typeface="+mn-ea"/>
                          <a:cs typeface="+mn-cs"/>
                        </a:rPr>
                        <a:t>(how do we deliver the outcomes)</a:t>
                      </a:r>
                    </a:p>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US" sz="1400" b="0" i="0" u="none" strike="noStrike" kern="1200" baseline="0" dirty="0" smtClean="0">
                          <a:solidFill>
                            <a:schemeClr val="tx1"/>
                          </a:solidFill>
                          <a:latin typeface="+mj-lt"/>
                          <a:ea typeface="+mn-ea"/>
                          <a:cs typeface="+mn-cs"/>
                        </a:rPr>
                        <a:t>Contract management</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485176">
                <a:tc vMerge="1">
                  <a:txBody>
                    <a:bodyPr/>
                    <a:lstStyle/>
                    <a:p>
                      <a:endParaRPr lang="en-ZA"/>
                    </a:p>
                  </a:txBody>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4183290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 name="Slide Number Placeholder 1">
            <a:extLst>
              <a:ext uri="{FF2B5EF4-FFF2-40B4-BE49-F238E27FC236}">
                <a16:creationId xmlns:a16="http://schemas.microsoft.com/office/drawing/2014/main" xmlns="" id="{A8E74C14-B365-4B36-897D-8CBA79973FDC}"/>
              </a:ext>
            </a:extLst>
          </p:cNvPr>
          <p:cNvSpPr>
            <a:spLocks noGrp="1"/>
          </p:cNvSpPr>
          <p:nvPr>
            <p:ph type="sldNum" sz="quarter" idx="12"/>
          </p:nvPr>
        </p:nvSpPr>
        <p:spPr/>
        <p:txBody>
          <a:bodyPr/>
          <a:lstStyle/>
          <a:p>
            <a:fld id="{5E48029D-87D6-48C3-BA4B-1065A63511DF}" type="slidenum">
              <a:rPr lang="en-GB" smtClean="0"/>
              <a:pPr/>
              <a:t>13</a:t>
            </a:fld>
            <a:endParaRPr lang="en-GB"/>
          </a:p>
        </p:txBody>
      </p:sp>
      <p:cxnSp>
        <p:nvCxnSpPr>
          <p:cNvPr id="332" name="Straight Arrow Connector 331">
            <a:extLst>
              <a:ext uri="{FF2B5EF4-FFF2-40B4-BE49-F238E27FC236}">
                <a16:creationId xmlns:a16="http://schemas.microsoft.com/office/drawing/2014/main" xmlns="" id="{00D009DB-35CC-49C2-9338-67E33A8E402B}"/>
              </a:ext>
            </a:extLst>
          </p:cNvPr>
          <p:cNvCxnSpPr>
            <a:cxnSpLocks/>
          </p:cNvCxnSpPr>
          <p:nvPr/>
        </p:nvCxnSpPr>
        <p:spPr>
          <a:xfrm>
            <a:off x="432631" y="6213987"/>
            <a:ext cx="10978321" cy="3243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333" name="Group 332">
            <a:extLst>
              <a:ext uri="{FF2B5EF4-FFF2-40B4-BE49-F238E27FC236}">
                <a16:creationId xmlns:a16="http://schemas.microsoft.com/office/drawing/2014/main" xmlns="" id="{B89E0ABE-45B1-4FD6-BDA2-178677933EE6}"/>
              </a:ext>
            </a:extLst>
          </p:cNvPr>
          <p:cNvGrpSpPr/>
          <p:nvPr/>
        </p:nvGrpSpPr>
        <p:grpSpPr>
          <a:xfrm>
            <a:off x="118808" y="1165609"/>
            <a:ext cx="313826" cy="5048379"/>
            <a:chOff x="118808" y="1165609"/>
            <a:chExt cx="313826" cy="5048379"/>
          </a:xfrm>
        </p:grpSpPr>
        <p:cxnSp>
          <p:nvCxnSpPr>
            <p:cNvPr id="334" name="Straight Arrow Connector 333">
              <a:extLst>
                <a:ext uri="{FF2B5EF4-FFF2-40B4-BE49-F238E27FC236}">
                  <a16:creationId xmlns:a16="http://schemas.microsoft.com/office/drawing/2014/main" xmlns="" id="{1C53510F-F2EC-4E73-94A2-0911C012BF66}"/>
                </a:ext>
              </a:extLst>
            </p:cNvPr>
            <p:cNvCxnSpPr>
              <a:cxnSpLocks/>
            </p:cNvCxnSpPr>
            <p:nvPr/>
          </p:nvCxnSpPr>
          <p:spPr>
            <a:xfrm flipV="1">
              <a:off x="432632" y="1233490"/>
              <a:ext cx="0" cy="49804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35" name="Rectangle 334">
              <a:extLst>
                <a:ext uri="{FF2B5EF4-FFF2-40B4-BE49-F238E27FC236}">
                  <a16:creationId xmlns:a16="http://schemas.microsoft.com/office/drawing/2014/main" xmlns="" id="{FF097216-9F6C-4F25-A3CB-D3D014309F89}"/>
                </a:ext>
              </a:extLst>
            </p:cNvPr>
            <p:cNvSpPr/>
            <p:nvPr/>
          </p:nvSpPr>
          <p:spPr>
            <a:xfrm rot="16200000">
              <a:off x="-289633" y="1574052"/>
              <a:ext cx="1130710" cy="313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a:solidFill>
                    <a:sysClr val="windowText" lastClr="000000"/>
                  </a:solidFill>
                </a:rPr>
                <a:t>OUTSOURCE</a:t>
              </a:r>
            </a:p>
          </p:txBody>
        </p:sp>
        <p:sp>
          <p:nvSpPr>
            <p:cNvPr id="336" name="Rectangle 335">
              <a:extLst>
                <a:ext uri="{FF2B5EF4-FFF2-40B4-BE49-F238E27FC236}">
                  <a16:creationId xmlns:a16="http://schemas.microsoft.com/office/drawing/2014/main" xmlns="" id="{BFEDC244-FA40-4747-859A-CE7D11C1FC87}"/>
                </a:ext>
              </a:extLst>
            </p:cNvPr>
            <p:cNvSpPr/>
            <p:nvPr/>
          </p:nvSpPr>
          <p:spPr>
            <a:xfrm rot="16200000">
              <a:off x="-289635" y="3479282"/>
              <a:ext cx="1130710"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NTROL</a:t>
              </a:r>
            </a:p>
          </p:txBody>
        </p:sp>
        <p:sp>
          <p:nvSpPr>
            <p:cNvPr id="337" name="Rectangle 336">
              <a:extLst>
                <a:ext uri="{FF2B5EF4-FFF2-40B4-BE49-F238E27FC236}">
                  <a16:creationId xmlns:a16="http://schemas.microsoft.com/office/drawing/2014/main" xmlns="" id="{FEF203BF-AD2E-4BFF-B7A8-4682647F6BBE}"/>
                </a:ext>
              </a:extLst>
            </p:cNvPr>
            <p:cNvSpPr/>
            <p:nvPr/>
          </p:nvSpPr>
          <p:spPr>
            <a:xfrm rot="16200000">
              <a:off x="-235082" y="5546274"/>
              <a:ext cx="1021604"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INSOURCE</a:t>
              </a:r>
            </a:p>
          </p:txBody>
        </p:sp>
      </p:grpSp>
      <p:grpSp>
        <p:nvGrpSpPr>
          <p:cNvPr id="338" name="Group 337">
            <a:extLst>
              <a:ext uri="{FF2B5EF4-FFF2-40B4-BE49-F238E27FC236}">
                <a16:creationId xmlns:a16="http://schemas.microsoft.com/office/drawing/2014/main" xmlns="" id="{D04092A1-50F5-4BDA-AB07-0F687808BD99}"/>
              </a:ext>
            </a:extLst>
          </p:cNvPr>
          <p:cNvGrpSpPr/>
          <p:nvPr/>
        </p:nvGrpSpPr>
        <p:grpSpPr>
          <a:xfrm>
            <a:off x="366083" y="6230206"/>
            <a:ext cx="11044863" cy="337866"/>
            <a:chOff x="366083" y="6230206"/>
            <a:chExt cx="11044863" cy="337866"/>
          </a:xfrm>
        </p:grpSpPr>
        <p:sp>
          <p:nvSpPr>
            <p:cNvPr id="339" name="Rectangle 338">
              <a:extLst>
                <a:ext uri="{FF2B5EF4-FFF2-40B4-BE49-F238E27FC236}">
                  <a16:creationId xmlns:a16="http://schemas.microsoft.com/office/drawing/2014/main" xmlns="" id="{2F52830D-443C-40EA-A371-2CC24C4D8EA6}"/>
                </a:ext>
              </a:extLst>
            </p:cNvPr>
            <p:cNvSpPr/>
            <p:nvPr/>
          </p:nvSpPr>
          <p:spPr>
            <a:xfrm>
              <a:off x="10058399" y="6238030"/>
              <a:ext cx="1352547" cy="304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ZA" sz="1200">
                  <a:solidFill>
                    <a:sysClr val="windowText" lastClr="000000"/>
                  </a:solidFill>
                </a:rPr>
                <a:t>DECENTRALISE</a:t>
              </a:r>
            </a:p>
          </p:txBody>
        </p:sp>
        <p:sp>
          <p:nvSpPr>
            <p:cNvPr id="340" name="Rectangle 339">
              <a:extLst>
                <a:ext uri="{FF2B5EF4-FFF2-40B4-BE49-F238E27FC236}">
                  <a16:creationId xmlns:a16="http://schemas.microsoft.com/office/drawing/2014/main" xmlns="" id="{84A284E5-A70F-439C-855D-8FD4B7A9BF2C}"/>
                </a:ext>
              </a:extLst>
            </p:cNvPr>
            <p:cNvSpPr/>
            <p:nvPr/>
          </p:nvSpPr>
          <p:spPr>
            <a:xfrm>
              <a:off x="5160728" y="6238027"/>
              <a:ext cx="1595240" cy="33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ORDINATION</a:t>
              </a:r>
            </a:p>
          </p:txBody>
        </p:sp>
        <p:sp>
          <p:nvSpPr>
            <p:cNvPr id="341" name="Rectangle 340">
              <a:extLst>
                <a:ext uri="{FF2B5EF4-FFF2-40B4-BE49-F238E27FC236}">
                  <a16:creationId xmlns:a16="http://schemas.microsoft.com/office/drawing/2014/main" xmlns="" id="{65768F7D-7F5D-4F7B-BD4B-F10696CB30DF}"/>
                </a:ext>
              </a:extLst>
            </p:cNvPr>
            <p:cNvSpPr/>
            <p:nvPr/>
          </p:nvSpPr>
          <p:spPr>
            <a:xfrm>
              <a:off x="366083" y="6230206"/>
              <a:ext cx="1139154" cy="2516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CENTRALISE</a:t>
              </a:r>
            </a:p>
          </p:txBody>
        </p:sp>
      </p:grpSp>
      <p:grpSp>
        <p:nvGrpSpPr>
          <p:cNvPr id="342" name="Group 341">
            <a:extLst>
              <a:ext uri="{FF2B5EF4-FFF2-40B4-BE49-F238E27FC236}">
                <a16:creationId xmlns:a16="http://schemas.microsoft.com/office/drawing/2014/main" xmlns="" id="{D86419E5-AEBF-4E1B-9C28-331E4A99AEA4}"/>
              </a:ext>
            </a:extLst>
          </p:cNvPr>
          <p:cNvGrpSpPr/>
          <p:nvPr/>
        </p:nvGrpSpPr>
        <p:grpSpPr>
          <a:xfrm>
            <a:off x="218700" y="6584820"/>
            <a:ext cx="748998" cy="262563"/>
            <a:chOff x="422379" y="5047383"/>
            <a:chExt cx="980427" cy="303071"/>
          </a:xfrm>
        </p:grpSpPr>
        <p:sp>
          <p:nvSpPr>
            <p:cNvPr id="343" name="Oval 342">
              <a:extLst>
                <a:ext uri="{FF2B5EF4-FFF2-40B4-BE49-F238E27FC236}">
                  <a16:creationId xmlns:a16="http://schemas.microsoft.com/office/drawing/2014/main" xmlns="" id="{A8C32EC6-9D6F-415E-8449-C7A49876116D}"/>
                </a:ext>
              </a:extLst>
            </p:cNvPr>
            <p:cNvSpPr/>
            <p:nvPr/>
          </p:nvSpPr>
          <p:spPr>
            <a:xfrm>
              <a:off x="422379" y="5076698"/>
              <a:ext cx="235617" cy="20777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44" name="Rectangle 343">
              <a:extLst>
                <a:ext uri="{FF2B5EF4-FFF2-40B4-BE49-F238E27FC236}">
                  <a16:creationId xmlns:a16="http://schemas.microsoft.com/office/drawing/2014/main" xmlns="" id="{FDC7FFFF-26DD-47CB-BBB7-60675D7F02E2}"/>
                </a:ext>
              </a:extLst>
            </p:cNvPr>
            <p:cNvSpPr/>
            <p:nvPr/>
          </p:nvSpPr>
          <p:spPr>
            <a:xfrm>
              <a:off x="595822" y="5047383"/>
              <a:ext cx="806984" cy="303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urrent</a:t>
              </a:r>
            </a:p>
          </p:txBody>
        </p:sp>
      </p:grpSp>
      <p:grpSp>
        <p:nvGrpSpPr>
          <p:cNvPr id="345" name="Group 344">
            <a:extLst>
              <a:ext uri="{FF2B5EF4-FFF2-40B4-BE49-F238E27FC236}">
                <a16:creationId xmlns:a16="http://schemas.microsoft.com/office/drawing/2014/main" xmlns="" id="{0A44A5E0-9FEF-47E5-9E25-E828C66EFF91}"/>
              </a:ext>
            </a:extLst>
          </p:cNvPr>
          <p:cNvGrpSpPr/>
          <p:nvPr/>
        </p:nvGrpSpPr>
        <p:grpSpPr>
          <a:xfrm>
            <a:off x="909345" y="6603121"/>
            <a:ext cx="1000441" cy="225960"/>
            <a:chOff x="422379" y="5399783"/>
            <a:chExt cx="1309562" cy="260820"/>
          </a:xfrm>
        </p:grpSpPr>
        <p:sp>
          <p:nvSpPr>
            <p:cNvPr id="346" name="Oval 345">
              <a:extLst>
                <a:ext uri="{FF2B5EF4-FFF2-40B4-BE49-F238E27FC236}">
                  <a16:creationId xmlns:a16="http://schemas.microsoft.com/office/drawing/2014/main" xmlns="" id="{0831734A-F40C-4A80-92F8-420B0B1CB284}"/>
                </a:ext>
              </a:extLst>
            </p:cNvPr>
            <p:cNvSpPr/>
            <p:nvPr/>
          </p:nvSpPr>
          <p:spPr>
            <a:xfrm>
              <a:off x="422379" y="5416160"/>
              <a:ext cx="235617" cy="20777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47" name="Rectangle 346">
              <a:extLst>
                <a:ext uri="{FF2B5EF4-FFF2-40B4-BE49-F238E27FC236}">
                  <a16:creationId xmlns:a16="http://schemas.microsoft.com/office/drawing/2014/main" xmlns="" id="{593C6AD2-E098-4FDA-B420-0F306F0D0FB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ST</a:t>
              </a:r>
            </a:p>
          </p:txBody>
        </p:sp>
      </p:grpSp>
      <p:grpSp>
        <p:nvGrpSpPr>
          <p:cNvPr id="348" name="Group 347">
            <a:extLst>
              <a:ext uri="{FF2B5EF4-FFF2-40B4-BE49-F238E27FC236}">
                <a16:creationId xmlns:a16="http://schemas.microsoft.com/office/drawing/2014/main" xmlns="" id="{8BA5AD93-D818-410A-8A60-3A7F35C563E4}"/>
              </a:ext>
            </a:extLst>
          </p:cNvPr>
          <p:cNvGrpSpPr/>
          <p:nvPr/>
        </p:nvGrpSpPr>
        <p:grpSpPr>
          <a:xfrm>
            <a:off x="425367" y="1233490"/>
            <a:ext cx="10982234" cy="5004537"/>
            <a:chOff x="425367" y="1233490"/>
            <a:chExt cx="10982234" cy="5004537"/>
          </a:xfrm>
        </p:grpSpPr>
        <p:cxnSp>
          <p:nvCxnSpPr>
            <p:cNvPr id="349" name="Straight Connector 348">
              <a:extLst>
                <a:ext uri="{FF2B5EF4-FFF2-40B4-BE49-F238E27FC236}">
                  <a16:creationId xmlns:a16="http://schemas.microsoft.com/office/drawing/2014/main" xmlns="" id="{1A6B082D-B6EB-4170-95B6-9CFAF746D130}"/>
                </a:ext>
              </a:extLst>
            </p:cNvPr>
            <p:cNvCxnSpPr>
              <a:cxnSpLocks/>
            </p:cNvCxnSpPr>
            <p:nvPr/>
          </p:nvCxnSpPr>
          <p:spPr>
            <a:xfrm>
              <a:off x="3009713" y="1233490"/>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xmlns="" id="{5AE09A90-7712-4EEB-B1AB-E7EBF053F16B}"/>
                </a:ext>
              </a:extLst>
            </p:cNvPr>
            <p:cNvCxnSpPr>
              <a:cxnSpLocks/>
            </p:cNvCxnSpPr>
            <p:nvPr/>
          </p:nvCxnSpPr>
          <p:spPr>
            <a:xfrm>
              <a:off x="5586792" y="1258704"/>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xmlns="" id="{ECBC2BD7-C293-438C-BE3F-214F842105E5}"/>
                </a:ext>
              </a:extLst>
            </p:cNvPr>
            <p:cNvCxnSpPr>
              <a:cxnSpLocks/>
            </p:cNvCxnSpPr>
            <p:nvPr/>
          </p:nvCxnSpPr>
          <p:spPr>
            <a:xfrm>
              <a:off x="8163871" y="1244813"/>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xmlns="" id="{55F92ECA-B5F4-47DA-A3F6-B807290584CC}"/>
                </a:ext>
              </a:extLst>
            </p:cNvPr>
            <p:cNvCxnSpPr>
              <a:cxnSpLocks/>
            </p:cNvCxnSpPr>
            <p:nvPr/>
          </p:nvCxnSpPr>
          <p:spPr>
            <a:xfrm>
              <a:off x="10740949" y="1266525"/>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xmlns="" id="{76C53D9C-E572-43F5-B31C-7366BC655361}"/>
                </a:ext>
              </a:extLst>
            </p:cNvPr>
            <p:cNvCxnSpPr>
              <a:cxnSpLocks/>
            </p:cNvCxnSpPr>
            <p:nvPr/>
          </p:nvCxnSpPr>
          <p:spPr>
            <a:xfrm rot="5400000">
              <a:off x="5952731" y="-3963728"/>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xmlns="" id="{2D3643D8-BEDD-4FDC-BD56-88BFB161DBE0}"/>
                </a:ext>
              </a:extLst>
            </p:cNvPr>
            <p:cNvCxnSpPr>
              <a:cxnSpLocks/>
            </p:cNvCxnSpPr>
            <p:nvPr/>
          </p:nvCxnSpPr>
          <p:spPr>
            <a:xfrm rot="5400000">
              <a:off x="5897400" y="-2778962"/>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xmlns="" id="{011AE3D9-0776-443A-9F4F-C14A94EB99E1}"/>
                </a:ext>
              </a:extLst>
            </p:cNvPr>
            <p:cNvCxnSpPr>
              <a:cxnSpLocks/>
            </p:cNvCxnSpPr>
            <p:nvPr/>
          </p:nvCxnSpPr>
          <p:spPr>
            <a:xfrm rot="5400000">
              <a:off x="5927884" y="-1594196"/>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xmlns="" id="{1759C436-EDFD-49AD-941E-4900743937E3}"/>
                </a:ext>
              </a:extLst>
            </p:cNvPr>
            <p:cNvCxnSpPr>
              <a:cxnSpLocks/>
            </p:cNvCxnSpPr>
            <p:nvPr/>
          </p:nvCxnSpPr>
          <p:spPr>
            <a:xfrm rot="5400000">
              <a:off x="5880238" y="-409430"/>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57" name="Group 356">
            <a:extLst>
              <a:ext uri="{FF2B5EF4-FFF2-40B4-BE49-F238E27FC236}">
                <a16:creationId xmlns:a16="http://schemas.microsoft.com/office/drawing/2014/main" xmlns="" id="{1BEDEA3B-27EF-4A4F-A63F-A696F8D79145}"/>
              </a:ext>
            </a:extLst>
          </p:cNvPr>
          <p:cNvGrpSpPr/>
          <p:nvPr/>
        </p:nvGrpSpPr>
        <p:grpSpPr>
          <a:xfrm>
            <a:off x="403123" y="1025662"/>
            <a:ext cx="10648488" cy="329376"/>
            <a:chOff x="13166521" y="4833050"/>
            <a:chExt cx="10648488" cy="329376"/>
          </a:xfrm>
        </p:grpSpPr>
        <p:sp>
          <p:nvSpPr>
            <p:cNvPr id="358" name="Rectangle 357">
              <a:extLst>
                <a:ext uri="{FF2B5EF4-FFF2-40B4-BE49-F238E27FC236}">
                  <a16:creationId xmlns:a16="http://schemas.microsoft.com/office/drawing/2014/main" xmlns="" id="{BA25994B-1DBF-448E-9A03-4F55252BD4E2}"/>
                </a:ext>
              </a:extLst>
            </p:cNvPr>
            <p:cNvSpPr/>
            <p:nvPr/>
          </p:nvSpPr>
          <p:spPr>
            <a:xfrm>
              <a:off x="13166521"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359" name="Rectangle 358">
              <a:extLst>
                <a:ext uri="{FF2B5EF4-FFF2-40B4-BE49-F238E27FC236}">
                  <a16:creationId xmlns:a16="http://schemas.microsoft.com/office/drawing/2014/main" xmlns="" id="{50E021AB-474D-497B-8013-9743058F57DA}"/>
                </a:ext>
              </a:extLst>
            </p:cNvPr>
            <p:cNvSpPr/>
            <p:nvPr/>
          </p:nvSpPr>
          <p:spPr>
            <a:xfrm>
              <a:off x="17985593" y="4833050"/>
              <a:ext cx="69467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Balanced </a:t>
              </a:r>
            </a:p>
          </p:txBody>
        </p:sp>
        <p:sp>
          <p:nvSpPr>
            <p:cNvPr id="360" name="Rectangle 359">
              <a:extLst>
                <a:ext uri="{FF2B5EF4-FFF2-40B4-BE49-F238E27FC236}">
                  <a16:creationId xmlns:a16="http://schemas.microsoft.com/office/drawing/2014/main" xmlns="" id="{05089309-7EB1-456A-A92A-17A3E8C4F7A9}"/>
                </a:ext>
              </a:extLst>
            </p:cNvPr>
            <p:cNvSpPr/>
            <p:nvPr/>
          </p:nvSpPr>
          <p:spPr>
            <a:xfrm>
              <a:off x="23125989" y="4833050"/>
              <a:ext cx="68902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361" name="Rectangle 360">
              <a:extLst>
                <a:ext uri="{FF2B5EF4-FFF2-40B4-BE49-F238E27FC236}">
                  <a16:creationId xmlns:a16="http://schemas.microsoft.com/office/drawing/2014/main" xmlns="" id="{4F521538-22AA-4836-89C7-13731C1E03CD}"/>
                </a:ext>
              </a:extLst>
            </p:cNvPr>
            <p:cNvSpPr/>
            <p:nvPr/>
          </p:nvSpPr>
          <p:spPr>
            <a:xfrm>
              <a:off x="20458490"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sp>
          <p:nvSpPr>
            <p:cNvPr id="362" name="Rectangle 361">
              <a:extLst>
                <a:ext uri="{FF2B5EF4-FFF2-40B4-BE49-F238E27FC236}">
                  <a16:creationId xmlns:a16="http://schemas.microsoft.com/office/drawing/2014/main" xmlns="" id="{6C9BFA04-22F9-4BFA-8500-5BFB2CA18434}"/>
                </a:ext>
              </a:extLst>
            </p:cNvPr>
            <p:cNvSpPr/>
            <p:nvPr/>
          </p:nvSpPr>
          <p:spPr>
            <a:xfrm>
              <a:off x="15501447" y="4833050"/>
              <a:ext cx="543148"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grpSp>
      <p:grpSp>
        <p:nvGrpSpPr>
          <p:cNvPr id="363" name="Group 362">
            <a:extLst>
              <a:ext uri="{FF2B5EF4-FFF2-40B4-BE49-F238E27FC236}">
                <a16:creationId xmlns:a16="http://schemas.microsoft.com/office/drawing/2014/main" xmlns="" id="{C77D83A7-0518-46DF-87BF-DD254DCA70B8}"/>
              </a:ext>
            </a:extLst>
          </p:cNvPr>
          <p:cNvGrpSpPr/>
          <p:nvPr/>
        </p:nvGrpSpPr>
        <p:grpSpPr>
          <a:xfrm rot="5400000">
            <a:off x="8910833" y="3526247"/>
            <a:ext cx="5080815" cy="359545"/>
            <a:chOff x="13166522" y="4833050"/>
            <a:chExt cx="10648487" cy="329377"/>
          </a:xfrm>
        </p:grpSpPr>
        <p:sp>
          <p:nvSpPr>
            <p:cNvPr id="364" name="Rectangle 363">
              <a:extLst>
                <a:ext uri="{FF2B5EF4-FFF2-40B4-BE49-F238E27FC236}">
                  <a16:creationId xmlns:a16="http://schemas.microsoft.com/office/drawing/2014/main" xmlns="" id="{52C7E228-964A-4966-9393-5D093179A799}"/>
                </a:ext>
              </a:extLst>
            </p:cNvPr>
            <p:cNvSpPr/>
            <p:nvPr/>
          </p:nvSpPr>
          <p:spPr>
            <a:xfrm>
              <a:off x="13166522" y="4833050"/>
              <a:ext cx="1353553"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365" name="Rectangle 364">
              <a:extLst>
                <a:ext uri="{FF2B5EF4-FFF2-40B4-BE49-F238E27FC236}">
                  <a16:creationId xmlns:a16="http://schemas.microsoft.com/office/drawing/2014/main" xmlns="" id="{40706AF2-DD75-4735-B1EF-4E08C7958428}"/>
                </a:ext>
              </a:extLst>
            </p:cNvPr>
            <p:cNvSpPr/>
            <p:nvPr/>
          </p:nvSpPr>
          <p:spPr>
            <a:xfrm>
              <a:off x="17985594" y="4833051"/>
              <a:ext cx="154371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Balanced </a:t>
              </a:r>
            </a:p>
          </p:txBody>
        </p:sp>
        <p:sp>
          <p:nvSpPr>
            <p:cNvPr id="366" name="Rectangle 365">
              <a:extLst>
                <a:ext uri="{FF2B5EF4-FFF2-40B4-BE49-F238E27FC236}">
                  <a16:creationId xmlns:a16="http://schemas.microsoft.com/office/drawing/2014/main" xmlns="" id="{5ED3C425-4E77-49DF-BF3F-6E3001749F7D}"/>
                </a:ext>
              </a:extLst>
            </p:cNvPr>
            <p:cNvSpPr/>
            <p:nvPr/>
          </p:nvSpPr>
          <p:spPr>
            <a:xfrm>
              <a:off x="22427079" y="4833050"/>
              <a:ext cx="138793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367" name="Rectangle 366">
              <a:extLst>
                <a:ext uri="{FF2B5EF4-FFF2-40B4-BE49-F238E27FC236}">
                  <a16:creationId xmlns:a16="http://schemas.microsoft.com/office/drawing/2014/main" xmlns="" id="{BABD7A4D-EFE3-40DB-ACEF-5DBA18BDDDBB}"/>
                </a:ext>
              </a:extLst>
            </p:cNvPr>
            <p:cNvSpPr/>
            <p:nvPr/>
          </p:nvSpPr>
          <p:spPr>
            <a:xfrm>
              <a:off x="20458489" y="4833050"/>
              <a:ext cx="138792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sp>
          <p:nvSpPr>
            <p:cNvPr id="368" name="Rectangle 367">
              <a:extLst>
                <a:ext uri="{FF2B5EF4-FFF2-40B4-BE49-F238E27FC236}">
                  <a16:creationId xmlns:a16="http://schemas.microsoft.com/office/drawing/2014/main" xmlns="" id="{C8E99B25-4C5B-4293-ACDF-7E96F3411B40}"/>
                </a:ext>
              </a:extLst>
            </p:cNvPr>
            <p:cNvSpPr/>
            <p:nvPr/>
          </p:nvSpPr>
          <p:spPr>
            <a:xfrm>
              <a:off x="15501452" y="4833050"/>
              <a:ext cx="1658091"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grpSp>
      <p:grpSp>
        <p:nvGrpSpPr>
          <p:cNvPr id="369" name="Group 368">
            <a:extLst>
              <a:ext uri="{FF2B5EF4-FFF2-40B4-BE49-F238E27FC236}">
                <a16:creationId xmlns:a16="http://schemas.microsoft.com/office/drawing/2014/main" xmlns="" id="{22549F37-660D-4CA0-80E9-99F8B4091D59}"/>
              </a:ext>
            </a:extLst>
          </p:cNvPr>
          <p:cNvGrpSpPr/>
          <p:nvPr/>
        </p:nvGrpSpPr>
        <p:grpSpPr>
          <a:xfrm>
            <a:off x="7560781" y="5632371"/>
            <a:ext cx="1075382" cy="381007"/>
            <a:chOff x="8231712" y="5567743"/>
            <a:chExt cx="1075382" cy="381007"/>
          </a:xfrm>
        </p:grpSpPr>
        <p:sp>
          <p:nvSpPr>
            <p:cNvPr id="370" name="Oval 369">
              <a:extLst>
                <a:ext uri="{FF2B5EF4-FFF2-40B4-BE49-F238E27FC236}">
                  <a16:creationId xmlns:a16="http://schemas.microsoft.com/office/drawing/2014/main" xmlns="" id="{41207688-8A6F-4540-A50B-9BFA9051A0E4}"/>
                </a:ext>
              </a:extLst>
            </p:cNvPr>
            <p:cNvSpPr/>
            <p:nvPr/>
          </p:nvSpPr>
          <p:spPr>
            <a:xfrm>
              <a:off x="8731632" y="5732750"/>
              <a:ext cx="216000" cy="216000"/>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71" name="Rectangle 370">
              <a:extLst>
                <a:ext uri="{FF2B5EF4-FFF2-40B4-BE49-F238E27FC236}">
                  <a16:creationId xmlns:a16="http://schemas.microsoft.com/office/drawing/2014/main" xmlns="" id="{84CAA7A0-F1AE-4C4B-B0BC-F2E5FC24DC55}"/>
                </a:ext>
              </a:extLst>
            </p:cNvPr>
            <p:cNvSpPr/>
            <p:nvPr/>
          </p:nvSpPr>
          <p:spPr>
            <a:xfrm>
              <a:off x="8231712" y="5567743"/>
              <a:ext cx="1075382" cy="330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upply Chain As-Is</a:t>
              </a:r>
            </a:p>
          </p:txBody>
        </p:sp>
      </p:grpSp>
      <p:grpSp>
        <p:nvGrpSpPr>
          <p:cNvPr id="372" name="Group 371">
            <a:extLst>
              <a:ext uri="{FF2B5EF4-FFF2-40B4-BE49-F238E27FC236}">
                <a16:creationId xmlns:a16="http://schemas.microsoft.com/office/drawing/2014/main" xmlns="" id="{CD51C9BD-71BB-4D8F-BCB8-8DF644530ADF}"/>
              </a:ext>
            </a:extLst>
          </p:cNvPr>
          <p:cNvGrpSpPr/>
          <p:nvPr/>
        </p:nvGrpSpPr>
        <p:grpSpPr>
          <a:xfrm>
            <a:off x="1422722" y="6603121"/>
            <a:ext cx="1000441" cy="225960"/>
            <a:chOff x="422379" y="5399783"/>
            <a:chExt cx="1309562" cy="260820"/>
          </a:xfrm>
        </p:grpSpPr>
        <p:sp>
          <p:nvSpPr>
            <p:cNvPr id="373" name="Oval 372">
              <a:extLst>
                <a:ext uri="{FF2B5EF4-FFF2-40B4-BE49-F238E27FC236}">
                  <a16:creationId xmlns:a16="http://schemas.microsoft.com/office/drawing/2014/main" xmlns="" id="{BF87FC09-6B1B-41E7-8A42-CF7D7D743F64}"/>
                </a:ext>
              </a:extLst>
            </p:cNvPr>
            <p:cNvSpPr/>
            <p:nvPr/>
          </p:nvSpPr>
          <p:spPr>
            <a:xfrm>
              <a:off x="422379" y="5416160"/>
              <a:ext cx="235617" cy="20777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74" name="Rectangle 373">
              <a:extLst>
                <a:ext uri="{FF2B5EF4-FFF2-40B4-BE49-F238E27FC236}">
                  <a16:creationId xmlns:a16="http://schemas.microsoft.com/office/drawing/2014/main" xmlns="" id="{B7174335-2718-4731-BCE9-407004E72004}"/>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MT</a:t>
              </a:r>
            </a:p>
          </p:txBody>
        </p:sp>
      </p:grpSp>
      <p:grpSp>
        <p:nvGrpSpPr>
          <p:cNvPr id="375" name="Group 374">
            <a:extLst>
              <a:ext uri="{FF2B5EF4-FFF2-40B4-BE49-F238E27FC236}">
                <a16:creationId xmlns:a16="http://schemas.microsoft.com/office/drawing/2014/main" xmlns="" id="{E48D63B5-89BF-4453-994A-811439A90331}"/>
              </a:ext>
            </a:extLst>
          </p:cNvPr>
          <p:cNvGrpSpPr/>
          <p:nvPr/>
        </p:nvGrpSpPr>
        <p:grpSpPr>
          <a:xfrm>
            <a:off x="1961155" y="6603121"/>
            <a:ext cx="1000441" cy="225960"/>
            <a:chOff x="422379" y="5399783"/>
            <a:chExt cx="1309562" cy="260820"/>
          </a:xfrm>
        </p:grpSpPr>
        <p:sp>
          <p:nvSpPr>
            <p:cNvPr id="376" name="Oval 375">
              <a:extLst>
                <a:ext uri="{FF2B5EF4-FFF2-40B4-BE49-F238E27FC236}">
                  <a16:creationId xmlns:a16="http://schemas.microsoft.com/office/drawing/2014/main" xmlns="" id="{BB227421-04A4-4C39-A2D2-8D3E6FEB8EAC}"/>
                </a:ext>
              </a:extLst>
            </p:cNvPr>
            <p:cNvSpPr/>
            <p:nvPr/>
          </p:nvSpPr>
          <p:spPr>
            <a:xfrm>
              <a:off x="422379" y="5416160"/>
              <a:ext cx="235617" cy="207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77" name="Rectangle 376">
              <a:extLst>
                <a:ext uri="{FF2B5EF4-FFF2-40B4-BE49-F238E27FC236}">
                  <a16:creationId xmlns:a16="http://schemas.microsoft.com/office/drawing/2014/main" xmlns="" id="{BBF99479-6D64-4C2E-92DD-690345E8915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LT</a:t>
              </a:r>
            </a:p>
          </p:txBody>
        </p:sp>
      </p:grpSp>
      <p:grpSp>
        <p:nvGrpSpPr>
          <p:cNvPr id="378" name="Group 377">
            <a:extLst>
              <a:ext uri="{FF2B5EF4-FFF2-40B4-BE49-F238E27FC236}">
                <a16:creationId xmlns:a16="http://schemas.microsoft.com/office/drawing/2014/main" xmlns="" id="{DD1E6C2A-7B0C-4E09-9D43-4D21C539A9F8}"/>
              </a:ext>
            </a:extLst>
          </p:cNvPr>
          <p:cNvGrpSpPr/>
          <p:nvPr/>
        </p:nvGrpSpPr>
        <p:grpSpPr>
          <a:xfrm>
            <a:off x="2474532" y="6576041"/>
            <a:ext cx="1365948" cy="225960"/>
            <a:chOff x="422379" y="5378675"/>
            <a:chExt cx="1788005" cy="260820"/>
          </a:xfrm>
        </p:grpSpPr>
        <p:sp>
          <p:nvSpPr>
            <p:cNvPr id="379" name="Oval 378">
              <a:extLst>
                <a:ext uri="{FF2B5EF4-FFF2-40B4-BE49-F238E27FC236}">
                  <a16:creationId xmlns:a16="http://schemas.microsoft.com/office/drawing/2014/main" xmlns="" id="{B8BE5CEA-2E64-4F21-908F-DD5A357584CE}"/>
                </a:ext>
              </a:extLst>
            </p:cNvPr>
            <p:cNvSpPr/>
            <p:nvPr/>
          </p:nvSpPr>
          <p:spPr>
            <a:xfrm>
              <a:off x="422379" y="5416160"/>
              <a:ext cx="235617" cy="207770"/>
            </a:xfrm>
            <a:prstGeom prst="ellipse">
              <a:avLst/>
            </a:prstGeom>
            <a:solidFill>
              <a:schemeClr val="accent1">
                <a:lumMod val="10000"/>
                <a:lumOff val="90000"/>
              </a:schemeClr>
            </a:solidFill>
            <a:ln>
              <a:solidFill>
                <a:schemeClr val="accent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80" name="Rectangle 379">
              <a:extLst>
                <a:ext uri="{FF2B5EF4-FFF2-40B4-BE49-F238E27FC236}">
                  <a16:creationId xmlns:a16="http://schemas.microsoft.com/office/drawing/2014/main" xmlns="" id="{E379DB60-D117-4904-9BFD-2F4B8BEC698E}"/>
                </a:ext>
              </a:extLst>
            </p:cNvPr>
            <p:cNvSpPr/>
            <p:nvPr/>
          </p:nvSpPr>
          <p:spPr>
            <a:xfrm>
              <a:off x="627994" y="5378675"/>
              <a:ext cx="1582390"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hange Management Focus</a:t>
              </a:r>
            </a:p>
          </p:txBody>
        </p:sp>
      </p:grpSp>
      <p:grpSp>
        <p:nvGrpSpPr>
          <p:cNvPr id="381" name="Group 380">
            <a:extLst>
              <a:ext uri="{FF2B5EF4-FFF2-40B4-BE49-F238E27FC236}">
                <a16:creationId xmlns:a16="http://schemas.microsoft.com/office/drawing/2014/main" xmlns="" id="{35B3405D-F030-42E4-82A7-0C4F53A1C2C0}"/>
              </a:ext>
            </a:extLst>
          </p:cNvPr>
          <p:cNvGrpSpPr/>
          <p:nvPr/>
        </p:nvGrpSpPr>
        <p:grpSpPr>
          <a:xfrm>
            <a:off x="790419" y="2395463"/>
            <a:ext cx="3507834" cy="1914928"/>
            <a:chOff x="7010860" y="2227842"/>
            <a:chExt cx="3507834" cy="1914928"/>
          </a:xfrm>
        </p:grpSpPr>
        <p:grpSp>
          <p:nvGrpSpPr>
            <p:cNvPr id="382" name="Group 381">
              <a:extLst>
                <a:ext uri="{FF2B5EF4-FFF2-40B4-BE49-F238E27FC236}">
                  <a16:creationId xmlns:a16="http://schemas.microsoft.com/office/drawing/2014/main" xmlns="" id="{8C230803-0EB5-40CA-BDAF-9BCDA69791B1}"/>
                </a:ext>
              </a:extLst>
            </p:cNvPr>
            <p:cNvGrpSpPr/>
            <p:nvPr/>
          </p:nvGrpSpPr>
          <p:grpSpPr>
            <a:xfrm>
              <a:off x="7010860" y="2227842"/>
              <a:ext cx="3507834" cy="1914928"/>
              <a:chOff x="7025443" y="1855753"/>
              <a:chExt cx="3507834" cy="1914928"/>
            </a:xfrm>
          </p:grpSpPr>
          <p:grpSp>
            <p:nvGrpSpPr>
              <p:cNvPr id="384" name="Group 383">
                <a:extLst>
                  <a:ext uri="{FF2B5EF4-FFF2-40B4-BE49-F238E27FC236}">
                    <a16:creationId xmlns:a16="http://schemas.microsoft.com/office/drawing/2014/main" xmlns="" id="{0CBA964E-187C-4BC5-80E8-42D4AE45861B}"/>
                  </a:ext>
                </a:extLst>
              </p:cNvPr>
              <p:cNvGrpSpPr/>
              <p:nvPr/>
            </p:nvGrpSpPr>
            <p:grpSpPr>
              <a:xfrm>
                <a:off x="7957926" y="3167221"/>
                <a:ext cx="2030293" cy="603460"/>
                <a:chOff x="7498357" y="5434526"/>
                <a:chExt cx="2030293" cy="603460"/>
              </a:xfrm>
            </p:grpSpPr>
            <p:sp>
              <p:nvSpPr>
                <p:cNvPr id="386" name="Oval 385">
                  <a:extLst>
                    <a:ext uri="{FF2B5EF4-FFF2-40B4-BE49-F238E27FC236}">
                      <a16:creationId xmlns:a16="http://schemas.microsoft.com/office/drawing/2014/main" xmlns="" id="{12ACD8A6-A70A-482B-9A36-30AE69A38794}"/>
                    </a:ext>
                  </a:extLst>
                </p:cNvPr>
                <p:cNvSpPr/>
                <p:nvPr/>
              </p:nvSpPr>
              <p:spPr>
                <a:xfrm>
                  <a:off x="8046154" y="5434526"/>
                  <a:ext cx="216000" cy="216000"/>
                </a:xfrm>
                <a:prstGeom prst="ellipse">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87" name="Rectangle 386">
                  <a:extLst>
                    <a:ext uri="{FF2B5EF4-FFF2-40B4-BE49-F238E27FC236}">
                      <a16:creationId xmlns:a16="http://schemas.microsoft.com/office/drawing/2014/main" xmlns="" id="{A9CC8A3A-2FBC-4B80-822F-8DE2E929BD5E}"/>
                    </a:ext>
                  </a:extLst>
                </p:cNvPr>
                <p:cNvSpPr/>
                <p:nvPr/>
              </p:nvSpPr>
              <p:spPr>
                <a:xfrm>
                  <a:off x="7498357" y="5722094"/>
                  <a:ext cx="2030293" cy="315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CM Demand &amp; Acquisition  (To-Be) (MT)</a:t>
                  </a:r>
                </a:p>
              </p:txBody>
            </p:sp>
          </p:grpSp>
          <p:sp>
            <p:nvSpPr>
              <p:cNvPr id="385" name="Rectangle 384">
                <a:extLst>
                  <a:ext uri="{FF2B5EF4-FFF2-40B4-BE49-F238E27FC236}">
                    <a16:creationId xmlns:a16="http://schemas.microsoft.com/office/drawing/2014/main" xmlns="" id="{ECC1C8F7-2087-4AD4-9A7E-3667BA7B7592}"/>
                  </a:ext>
                </a:extLst>
              </p:cNvPr>
              <p:cNvSpPr/>
              <p:nvPr/>
            </p:nvSpPr>
            <p:spPr>
              <a:xfrm>
                <a:off x="7025443" y="1855753"/>
                <a:ext cx="3507834" cy="1189480"/>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In the MT SCM Demand and Acquisition would be fully centralised and further demand would also be leveraged out of the DCS production and workshops for goods. This function would be able to provide advisory input into other strategic demand requirements that could be scoped into the DCS workshop</a:t>
                </a:r>
              </a:p>
              <a:p>
                <a:pPr algn="ctr"/>
                <a:endParaRPr lang="en-ZA" sz="1000">
                  <a:solidFill>
                    <a:schemeClr val="tx1"/>
                  </a:solidFill>
                </a:endParaRPr>
              </a:p>
            </p:txBody>
          </p:sp>
        </p:grpSp>
        <p:sp>
          <p:nvSpPr>
            <p:cNvPr id="383" name="Oval 382">
              <a:extLst>
                <a:ext uri="{FF2B5EF4-FFF2-40B4-BE49-F238E27FC236}">
                  <a16:creationId xmlns:a16="http://schemas.microsoft.com/office/drawing/2014/main" xmlns="" id="{479AD985-49E0-49CF-9A6E-F922C2BA3ED5}"/>
                </a:ext>
              </a:extLst>
            </p:cNvPr>
            <p:cNvSpPr/>
            <p:nvPr/>
          </p:nvSpPr>
          <p:spPr>
            <a:xfrm>
              <a:off x="8757685" y="3556337"/>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grpSp>
        <p:nvGrpSpPr>
          <p:cNvPr id="388" name="Group 387">
            <a:extLst>
              <a:ext uri="{FF2B5EF4-FFF2-40B4-BE49-F238E27FC236}">
                <a16:creationId xmlns:a16="http://schemas.microsoft.com/office/drawing/2014/main" xmlns="" id="{8E4B6722-478B-4D0D-858E-A183FFBEA570}"/>
              </a:ext>
            </a:extLst>
          </p:cNvPr>
          <p:cNvGrpSpPr/>
          <p:nvPr/>
        </p:nvGrpSpPr>
        <p:grpSpPr>
          <a:xfrm>
            <a:off x="6525795" y="2397764"/>
            <a:ext cx="3507834" cy="1959163"/>
            <a:chOff x="7055461" y="1954987"/>
            <a:chExt cx="3507834" cy="2187783"/>
          </a:xfrm>
        </p:grpSpPr>
        <p:grpSp>
          <p:nvGrpSpPr>
            <p:cNvPr id="389" name="Group 388">
              <a:extLst>
                <a:ext uri="{FF2B5EF4-FFF2-40B4-BE49-F238E27FC236}">
                  <a16:creationId xmlns:a16="http://schemas.microsoft.com/office/drawing/2014/main" xmlns="" id="{D511FB63-6ADF-478F-AF20-208ED65ADBAA}"/>
                </a:ext>
              </a:extLst>
            </p:cNvPr>
            <p:cNvGrpSpPr/>
            <p:nvPr/>
          </p:nvGrpSpPr>
          <p:grpSpPr>
            <a:xfrm>
              <a:off x="7055461" y="1954987"/>
              <a:ext cx="3507834" cy="2187783"/>
              <a:chOff x="7070044" y="1582898"/>
              <a:chExt cx="3507834" cy="2187783"/>
            </a:xfrm>
          </p:grpSpPr>
          <p:grpSp>
            <p:nvGrpSpPr>
              <p:cNvPr id="391" name="Group 390">
                <a:extLst>
                  <a:ext uri="{FF2B5EF4-FFF2-40B4-BE49-F238E27FC236}">
                    <a16:creationId xmlns:a16="http://schemas.microsoft.com/office/drawing/2014/main" xmlns="" id="{99F4D4DB-8C7F-4FB6-A182-E808BD807B76}"/>
                  </a:ext>
                </a:extLst>
              </p:cNvPr>
              <p:cNvGrpSpPr/>
              <p:nvPr/>
            </p:nvGrpSpPr>
            <p:grpSpPr>
              <a:xfrm>
                <a:off x="7957926" y="3167221"/>
                <a:ext cx="2030293" cy="603460"/>
                <a:chOff x="7498357" y="5434526"/>
                <a:chExt cx="2030293" cy="603460"/>
              </a:xfrm>
            </p:grpSpPr>
            <p:sp>
              <p:nvSpPr>
                <p:cNvPr id="393" name="Oval 392">
                  <a:extLst>
                    <a:ext uri="{FF2B5EF4-FFF2-40B4-BE49-F238E27FC236}">
                      <a16:creationId xmlns:a16="http://schemas.microsoft.com/office/drawing/2014/main" xmlns="" id="{7F24F820-7D17-444A-884D-DD343FED63B1}"/>
                    </a:ext>
                  </a:extLst>
                </p:cNvPr>
                <p:cNvSpPr/>
                <p:nvPr/>
              </p:nvSpPr>
              <p:spPr>
                <a:xfrm>
                  <a:off x="8046154" y="5434526"/>
                  <a:ext cx="216000" cy="216000"/>
                </a:xfrm>
                <a:prstGeom prst="ellipse">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94" name="Rectangle 393">
                  <a:extLst>
                    <a:ext uri="{FF2B5EF4-FFF2-40B4-BE49-F238E27FC236}">
                      <a16:creationId xmlns:a16="http://schemas.microsoft.com/office/drawing/2014/main" xmlns="" id="{2E6D2028-D41D-4283-986C-0A1F5D89C72E}"/>
                    </a:ext>
                  </a:extLst>
                </p:cNvPr>
                <p:cNvSpPr/>
                <p:nvPr/>
              </p:nvSpPr>
              <p:spPr>
                <a:xfrm>
                  <a:off x="7498357" y="5722094"/>
                  <a:ext cx="2030293" cy="3158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CM Logistics</a:t>
                  </a:r>
                </a:p>
                <a:p>
                  <a:r>
                    <a:rPr lang="en-ZA" sz="1200">
                      <a:solidFill>
                        <a:sysClr val="windowText" lastClr="000000"/>
                      </a:solidFill>
                    </a:rPr>
                    <a:t>(To-Be) (MT)</a:t>
                  </a:r>
                </a:p>
              </p:txBody>
            </p:sp>
          </p:grpSp>
          <p:sp>
            <p:nvSpPr>
              <p:cNvPr id="392" name="Rectangle 391">
                <a:extLst>
                  <a:ext uri="{FF2B5EF4-FFF2-40B4-BE49-F238E27FC236}">
                    <a16:creationId xmlns:a16="http://schemas.microsoft.com/office/drawing/2014/main" xmlns="" id="{4A43B3B5-32B9-4222-A917-DBA18F13A744}"/>
                  </a:ext>
                </a:extLst>
              </p:cNvPr>
              <p:cNvSpPr/>
              <p:nvPr/>
            </p:nvSpPr>
            <p:spPr>
              <a:xfrm>
                <a:off x="7070044" y="1582898"/>
                <a:ext cx="3507834" cy="1320384"/>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SCM Logistics  would remain decentralised but with established outsources functions for transport and arrangements, where necessary with a DCS production workshop function where supply and demand is leveraged</a:t>
                </a:r>
              </a:p>
            </p:txBody>
          </p:sp>
        </p:grpSp>
        <p:sp>
          <p:nvSpPr>
            <p:cNvPr id="390" name="Oval 389">
              <a:extLst>
                <a:ext uri="{FF2B5EF4-FFF2-40B4-BE49-F238E27FC236}">
                  <a16:creationId xmlns:a16="http://schemas.microsoft.com/office/drawing/2014/main" xmlns="" id="{AAFFF2A7-8AC5-464E-975C-EE30FD437829}"/>
                </a:ext>
              </a:extLst>
            </p:cNvPr>
            <p:cNvSpPr/>
            <p:nvPr/>
          </p:nvSpPr>
          <p:spPr>
            <a:xfrm>
              <a:off x="8757685" y="3556337"/>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grpSp>
        <p:nvGrpSpPr>
          <p:cNvPr id="395" name="Group 394">
            <a:extLst>
              <a:ext uri="{FF2B5EF4-FFF2-40B4-BE49-F238E27FC236}">
                <a16:creationId xmlns:a16="http://schemas.microsoft.com/office/drawing/2014/main" xmlns="" id="{9B4D6454-13AF-494A-ACB7-6D540B93DD4A}"/>
              </a:ext>
            </a:extLst>
          </p:cNvPr>
          <p:cNvGrpSpPr/>
          <p:nvPr/>
        </p:nvGrpSpPr>
        <p:grpSpPr>
          <a:xfrm>
            <a:off x="790419" y="4507049"/>
            <a:ext cx="4218620" cy="1290327"/>
            <a:chOff x="790419" y="4507049"/>
            <a:chExt cx="4218620" cy="1290327"/>
          </a:xfrm>
        </p:grpSpPr>
        <p:grpSp>
          <p:nvGrpSpPr>
            <p:cNvPr id="396" name="Group 395">
              <a:extLst>
                <a:ext uri="{FF2B5EF4-FFF2-40B4-BE49-F238E27FC236}">
                  <a16:creationId xmlns:a16="http://schemas.microsoft.com/office/drawing/2014/main" xmlns="" id="{5B987911-A604-4D0B-8268-26F2AAD4803E}"/>
                </a:ext>
              </a:extLst>
            </p:cNvPr>
            <p:cNvGrpSpPr/>
            <p:nvPr/>
          </p:nvGrpSpPr>
          <p:grpSpPr>
            <a:xfrm>
              <a:off x="790419" y="4507049"/>
              <a:ext cx="4129618" cy="1290327"/>
              <a:chOff x="4765374" y="3838899"/>
              <a:chExt cx="4129618" cy="1290327"/>
            </a:xfrm>
          </p:grpSpPr>
          <p:grpSp>
            <p:nvGrpSpPr>
              <p:cNvPr id="398" name="Group 397">
                <a:extLst>
                  <a:ext uri="{FF2B5EF4-FFF2-40B4-BE49-F238E27FC236}">
                    <a16:creationId xmlns:a16="http://schemas.microsoft.com/office/drawing/2014/main" xmlns="" id="{5217C867-63B8-4233-BD17-AD74A63199D5}"/>
                  </a:ext>
                </a:extLst>
              </p:cNvPr>
              <p:cNvGrpSpPr/>
              <p:nvPr/>
            </p:nvGrpSpPr>
            <p:grpSpPr>
              <a:xfrm>
                <a:off x="7519053" y="3891157"/>
                <a:ext cx="1375939" cy="621961"/>
                <a:chOff x="7059484" y="5028565"/>
                <a:chExt cx="1375939" cy="621961"/>
              </a:xfrm>
            </p:grpSpPr>
            <p:sp>
              <p:nvSpPr>
                <p:cNvPr id="400" name="Oval 399">
                  <a:extLst>
                    <a:ext uri="{FF2B5EF4-FFF2-40B4-BE49-F238E27FC236}">
                      <a16:creationId xmlns:a16="http://schemas.microsoft.com/office/drawing/2014/main" xmlns="" id="{EFA04679-20E1-4B6C-8724-AD3FF95845DC}"/>
                    </a:ext>
                  </a:extLst>
                </p:cNvPr>
                <p:cNvSpPr/>
                <p:nvPr/>
              </p:nvSpPr>
              <p:spPr>
                <a:xfrm>
                  <a:off x="8046154" y="5434526"/>
                  <a:ext cx="216000" cy="216000"/>
                </a:xfrm>
                <a:prstGeom prst="ellipse">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1" name="Rectangle 400">
                  <a:extLst>
                    <a:ext uri="{FF2B5EF4-FFF2-40B4-BE49-F238E27FC236}">
                      <a16:creationId xmlns:a16="http://schemas.microsoft.com/office/drawing/2014/main" xmlns="" id="{74B0D1E6-FBA3-4BF1-9B22-DD90E546B12C}"/>
                    </a:ext>
                  </a:extLst>
                </p:cNvPr>
                <p:cNvSpPr/>
                <p:nvPr/>
              </p:nvSpPr>
              <p:spPr>
                <a:xfrm>
                  <a:off x="7059484" y="5028565"/>
                  <a:ext cx="1375939" cy="586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CM Demand &amp; Acquisition </a:t>
                  </a:r>
                </a:p>
                <a:p>
                  <a:r>
                    <a:rPr lang="en-ZA" sz="1200">
                      <a:solidFill>
                        <a:sysClr val="windowText" lastClr="000000"/>
                      </a:solidFill>
                    </a:rPr>
                    <a:t>(To-Be) (ST)</a:t>
                  </a:r>
                </a:p>
              </p:txBody>
            </p:sp>
          </p:grpSp>
          <p:sp>
            <p:nvSpPr>
              <p:cNvPr id="399" name="Rectangle 398">
                <a:extLst>
                  <a:ext uri="{FF2B5EF4-FFF2-40B4-BE49-F238E27FC236}">
                    <a16:creationId xmlns:a16="http://schemas.microsoft.com/office/drawing/2014/main" xmlns="" id="{9F481404-36EA-4F10-BF9B-CEC4849B5194}"/>
                  </a:ext>
                </a:extLst>
              </p:cNvPr>
              <p:cNvSpPr/>
              <p:nvPr/>
            </p:nvSpPr>
            <p:spPr>
              <a:xfrm>
                <a:off x="4765374" y="3838899"/>
                <a:ext cx="2751234" cy="1290327"/>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SCM Demand and Acquisition should be phased centralised allowing for regions to focus on core mandate and benefit from centralised sourcing. This would require change management but indicate cost savings due to the leverage of strategic negotiations. </a:t>
                </a:r>
              </a:p>
            </p:txBody>
          </p:sp>
        </p:grpSp>
        <p:sp>
          <p:nvSpPr>
            <p:cNvPr id="397" name="Oval 396">
              <a:extLst>
                <a:ext uri="{FF2B5EF4-FFF2-40B4-BE49-F238E27FC236}">
                  <a16:creationId xmlns:a16="http://schemas.microsoft.com/office/drawing/2014/main" xmlns="" id="{9607AEFE-29CE-4EE2-8188-A96A37513AE2}"/>
                </a:ext>
              </a:extLst>
            </p:cNvPr>
            <p:cNvSpPr/>
            <p:nvPr/>
          </p:nvSpPr>
          <p:spPr>
            <a:xfrm>
              <a:off x="4793039" y="4971693"/>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grpSp>
        <p:nvGrpSpPr>
          <p:cNvPr id="402" name="Group 401">
            <a:extLst>
              <a:ext uri="{FF2B5EF4-FFF2-40B4-BE49-F238E27FC236}">
                <a16:creationId xmlns:a16="http://schemas.microsoft.com/office/drawing/2014/main" xmlns="" id="{E6787428-78BA-453B-9A9C-C4DBFAFAB790}"/>
              </a:ext>
            </a:extLst>
          </p:cNvPr>
          <p:cNvGrpSpPr/>
          <p:nvPr/>
        </p:nvGrpSpPr>
        <p:grpSpPr>
          <a:xfrm>
            <a:off x="6996966" y="4332256"/>
            <a:ext cx="4107347" cy="1076546"/>
            <a:chOff x="6967007" y="4367547"/>
            <a:chExt cx="4107347" cy="1076546"/>
          </a:xfrm>
        </p:grpSpPr>
        <p:grpSp>
          <p:nvGrpSpPr>
            <p:cNvPr id="403" name="Group 402">
              <a:extLst>
                <a:ext uri="{FF2B5EF4-FFF2-40B4-BE49-F238E27FC236}">
                  <a16:creationId xmlns:a16="http://schemas.microsoft.com/office/drawing/2014/main" xmlns="" id="{BE72375F-0275-4691-B47A-3B607F9663AD}"/>
                </a:ext>
              </a:extLst>
            </p:cNvPr>
            <p:cNvGrpSpPr/>
            <p:nvPr/>
          </p:nvGrpSpPr>
          <p:grpSpPr>
            <a:xfrm>
              <a:off x="6967007" y="4367547"/>
              <a:ext cx="4107347" cy="1076546"/>
              <a:chOff x="7419198" y="3746521"/>
              <a:chExt cx="4107347" cy="1076546"/>
            </a:xfrm>
          </p:grpSpPr>
          <p:grpSp>
            <p:nvGrpSpPr>
              <p:cNvPr id="405" name="Group 404">
                <a:extLst>
                  <a:ext uri="{FF2B5EF4-FFF2-40B4-BE49-F238E27FC236}">
                    <a16:creationId xmlns:a16="http://schemas.microsoft.com/office/drawing/2014/main" xmlns="" id="{B243F733-BA3D-4B33-A346-8DB9B7643CF7}"/>
                  </a:ext>
                </a:extLst>
              </p:cNvPr>
              <p:cNvGrpSpPr/>
              <p:nvPr/>
            </p:nvGrpSpPr>
            <p:grpSpPr>
              <a:xfrm>
                <a:off x="7419198" y="4222538"/>
                <a:ext cx="1302525" cy="331349"/>
                <a:chOff x="6959629" y="5359946"/>
                <a:chExt cx="1302525" cy="331349"/>
              </a:xfrm>
            </p:grpSpPr>
            <p:sp>
              <p:nvSpPr>
                <p:cNvPr id="407" name="Oval 406">
                  <a:extLst>
                    <a:ext uri="{FF2B5EF4-FFF2-40B4-BE49-F238E27FC236}">
                      <a16:creationId xmlns:a16="http://schemas.microsoft.com/office/drawing/2014/main" xmlns="" id="{59F6E9B1-E049-41B3-9F9E-24FA85A4F5AF}"/>
                    </a:ext>
                  </a:extLst>
                </p:cNvPr>
                <p:cNvSpPr/>
                <p:nvPr/>
              </p:nvSpPr>
              <p:spPr>
                <a:xfrm>
                  <a:off x="8046154" y="5434526"/>
                  <a:ext cx="216000" cy="216000"/>
                </a:xfrm>
                <a:prstGeom prst="ellipse">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8" name="Rectangle 407">
                  <a:extLst>
                    <a:ext uri="{FF2B5EF4-FFF2-40B4-BE49-F238E27FC236}">
                      <a16:creationId xmlns:a16="http://schemas.microsoft.com/office/drawing/2014/main" xmlns="" id="{0EF556FA-2E29-48BF-9B74-4CB2324364A3}"/>
                    </a:ext>
                  </a:extLst>
                </p:cNvPr>
                <p:cNvSpPr/>
                <p:nvPr/>
              </p:nvSpPr>
              <p:spPr>
                <a:xfrm>
                  <a:off x="6959629" y="5359946"/>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SCM Logistics</a:t>
                  </a:r>
                </a:p>
                <a:p>
                  <a:r>
                    <a:rPr lang="en-ZA" sz="1200">
                      <a:solidFill>
                        <a:sysClr val="windowText" lastClr="000000"/>
                      </a:solidFill>
                    </a:rPr>
                    <a:t>(To-Be) (ST)</a:t>
                  </a:r>
                </a:p>
              </p:txBody>
            </p:sp>
          </p:grpSp>
          <p:sp>
            <p:nvSpPr>
              <p:cNvPr id="406" name="Rectangle 405">
                <a:extLst>
                  <a:ext uri="{FF2B5EF4-FFF2-40B4-BE49-F238E27FC236}">
                    <a16:creationId xmlns:a16="http://schemas.microsoft.com/office/drawing/2014/main" xmlns="" id="{9E895D54-1E39-4FEB-BA94-2C95A312A602}"/>
                  </a:ext>
                </a:extLst>
              </p:cNvPr>
              <p:cNvSpPr/>
              <p:nvPr/>
            </p:nvSpPr>
            <p:spPr>
              <a:xfrm>
                <a:off x="8838103" y="3746521"/>
                <a:ext cx="2688442" cy="1076546"/>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SCM Logistics would remain a decentralised function managed by regions based on the supply of goods and services required by them. Partnerships should be identified for internal functions done by DCS outside of core mandate, e.g. transport</a:t>
                </a:r>
              </a:p>
            </p:txBody>
          </p:sp>
        </p:grpSp>
        <p:sp>
          <p:nvSpPr>
            <p:cNvPr id="404" name="Oval 403">
              <a:extLst>
                <a:ext uri="{FF2B5EF4-FFF2-40B4-BE49-F238E27FC236}">
                  <a16:creationId xmlns:a16="http://schemas.microsoft.com/office/drawing/2014/main" xmlns="" id="{38C5C397-6A28-4D55-81FD-1E0EFD0E56A4}"/>
                </a:ext>
              </a:extLst>
            </p:cNvPr>
            <p:cNvSpPr/>
            <p:nvPr/>
          </p:nvSpPr>
          <p:spPr>
            <a:xfrm>
              <a:off x="8050552" y="5164189"/>
              <a:ext cx="252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sp>
        <p:nvSpPr>
          <p:cNvPr id="409" name="TextBox 408">
            <a:extLst>
              <a:ext uri="{FF2B5EF4-FFF2-40B4-BE49-F238E27FC236}">
                <a16:creationId xmlns:a16="http://schemas.microsoft.com/office/drawing/2014/main" xmlns="" id="{B4899A33-5CF0-4B2C-A44B-9743F106C0C2}"/>
              </a:ext>
            </a:extLst>
          </p:cNvPr>
          <p:cNvSpPr txBox="1"/>
          <p:nvPr/>
        </p:nvSpPr>
        <p:spPr>
          <a:xfrm>
            <a:off x="4655423" y="1266522"/>
            <a:ext cx="6727332" cy="338554"/>
          </a:xfrm>
          <a:prstGeom prst="rect">
            <a:avLst/>
          </a:prstGeom>
          <a:solidFill>
            <a:schemeClr val="bg1">
              <a:lumMod val="95000"/>
            </a:schemeClr>
          </a:solidFill>
        </p:spPr>
        <p:txBody>
          <a:bodyPr wrap="square" rtlCol="0">
            <a:spAutoFit/>
          </a:bodyPr>
          <a:lstStyle/>
          <a:p>
            <a:pPr algn="r"/>
            <a:r>
              <a:rPr lang="en-ZA" sz="1600" b="1" u="sng">
                <a:solidFill>
                  <a:sysClr val="windowText" lastClr="000000"/>
                </a:solidFill>
              </a:rPr>
              <a:t>SUPPLY CHAIN: BALANCE OUTSOURCE – PART CENTRAL/DECENTRAL</a:t>
            </a:r>
          </a:p>
        </p:txBody>
      </p:sp>
      <p:sp>
        <p:nvSpPr>
          <p:cNvPr id="85" name="TextBox 84">
            <a:extLst>
              <a:ext uri="{FF2B5EF4-FFF2-40B4-BE49-F238E27FC236}">
                <a16:creationId xmlns="" xmlns:a16="http://schemas.microsoft.com/office/drawing/2014/main" id="{3D1D2E24-36FA-6149-B377-163EFDF93ABC}"/>
              </a:ext>
            </a:extLst>
          </p:cNvPr>
          <p:cNvSpPr txBox="1"/>
          <p:nvPr/>
        </p:nvSpPr>
        <p:spPr>
          <a:xfrm>
            <a:off x="756686" y="791286"/>
            <a:ext cx="379569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4" name="Rectangle 3"/>
          <p:cNvSpPr/>
          <p:nvPr/>
        </p:nvSpPr>
        <p:spPr>
          <a:xfrm>
            <a:off x="0" y="-57192"/>
            <a:ext cx="12192000" cy="830997"/>
          </a:xfrm>
          <a:prstGeom prst="rect">
            <a:avLst/>
          </a:prstGeom>
        </p:spPr>
        <p:txBody>
          <a:bodyPr wrap="square">
            <a:spAutoFit/>
          </a:bodyPr>
          <a:lstStyle/>
          <a:p>
            <a:r>
              <a:rPr lang="en-ZA" sz="2400" b="1" dirty="0">
                <a:solidFill>
                  <a:srgbClr val="000000"/>
                </a:solidFill>
                <a:latin typeface="Georgia"/>
                <a:ea typeface="+mj-ea"/>
                <a:cs typeface="+mj-cs"/>
              </a:rPr>
              <a:t>Supply Chain Management centralises demand and acquisition and decentralises logistics…</a:t>
            </a:r>
          </a:p>
        </p:txBody>
      </p:sp>
    </p:spTree>
    <p:extLst>
      <p:ext uri="{BB962C8B-B14F-4D97-AF65-F5344CB8AC3E}">
        <p14:creationId xmlns:p14="http://schemas.microsoft.com/office/powerpoint/2010/main" val="19293407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90220" y="142012"/>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3200" b="1" dirty="0" smtClean="0">
                <a:solidFill>
                  <a:srgbClr val="000000"/>
                </a:solidFill>
                <a:latin typeface="Georgia"/>
                <a:sym typeface="Calibri"/>
              </a:rPr>
              <a:t>Modes of service delivery for Supply Chain</a:t>
            </a:r>
            <a:endParaRPr lang="en-US" sz="3200" b="1" dirty="0">
              <a:solidFill>
                <a:srgbClr val="000000"/>
              </a:solidFill>
              <a:latin typeface="Georgia"/>
            </a:endParaRPr>
          </a:p>
        </p:txBody>
      </p:sp>
      <p:sp>
        <p:nvSpPr>
          <p:cNvPr id="2" name="Rectangle 1"/>
          <p:cNvSpPr/>
          <p:nvPr/>
        </p:nvSpPr>
        <p:spPr>
          <a:xfrm>
            <a:off x="404191" y="2467094"/>
            <a:ext cx="2385137" cy="2973122"/>
          </a:xfrm>
          <a:prstGeom prst="rect">
            <a:avLst/>
          </a:prstGeom>
        </p:spPr>
        <p:txBody>
          <a:bodyPr wrap="square">
            <a:spAutoFit/>
          </a:bodyPr>
          <a:lstStyle/>
          <a:p>
            <a:pPr lvl="0" algn="just" defTabSz="869137">
              <a:lnSpc>
                <a:spcPct val="90000"/>
              </a:lnSpc>
              <a:spcBef>
                <a:spcPts val="951"/>
              </a:spcBef>
            </a:pPr>
            <a:r>
              <a:rPr lang="en-US" sz="1600" b="1" dirty="0">
                <a:solidFill>
                  <a:sysClr val="windowText" lastClr="000000"/>
                </a:solidFill>
                <a:latin typeface="Lato"/>
              </a:rPr>
              <a:t>Outsourcing only the distribution and transport of goods will result in a cost saving for the DCS, whilst maintaining a </a:t>
            </a:r>
            <a:r>
              <a:rPr lang="en-US" sz="1600" b="1" dirty="0" err="1">
                <a:solidFill>
                  <a:sysClr val="windowText" lastClr="000000"/>
                </a:solidFill>
                <a:latin typeface="Lato"/>
              </a:rPr>
              <a:t>decentralised</a:t>
            </a:r>
            <a:r>
              <a:rPr lang="en-US" sz="1600" b="1" dirty="0">
                <a:solidFill>
                  <a:sysClr val="windowText" lastClr="000000"/>
                </a:solidFill>
                <a:latin typeface="Lato"/>
              </a:rPr>
              <a:t> and insourced warehousing function. This could further leverage of the production agency once established</a:t>
            </a:r>
          </a:p>
        </p:txBody>
      </p:sp>
      <p:sp>
        <p:nvSpPr>
          <p:cNvPr id="7" name="Rectangle 6">
            <a:extLst>
              <a:ext uri="{FF2B5EF4-FFF2-40B4-BE49-F238E27FC236}">
                <a16:creationId xmlns="" xmlns:a16="http://schemas.microsoft.com/office/drawing/2014/main" id="{265594CA-0F1B-4C3D-9FBC-EA09A76F868D}"/>
              </a:ext>
            </a:extLst>
          </p:cNvPr>
          <p:cNvSpPr/>
          <p:nvPr/>
        </p:nvSpPr>
        <p:spPr>
          <a:xfrm>
            <a:off x="3110591" y="1320253"/>
            <a:ext cx="3465365" cy="4418396"/>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Propose</a:t>
            </a:r>
            <a:r>
              <a:rPr kumimoji="0" lang="en-ZA" b="1" i="0" u="none" strike="noStrike" kern="0" cap="none" spc="0" normalizeH="0" baseline="0" noProof="0" dirty="0" smtClean="0">
                <a:ln>
                  <a:noFill/>
                </a:ln>
                <a:solidFill>
                  <a:prstClr val="black"/>
                </a:solidFill>
                <a:effectLst/>
                <a:highlight>
                  <a:srgbClr val="FFFFFF"/>
                </a:highlight>
                <a:uLnTx/>
                <a:uFillTx/>
                <a:latin typeface="Lato"/>
              </a:rPr>
              <a:t>d</a:t>
            </a:r>
            <a:endParaRPr lang="en-US" sz="1100" kern="0" dirty="0" smtClean="0">
              <a:solidFill>
                <a:prstClr val="black"/>
              </a:solidFill>
              <a:latin typeface="Lato"/>
            </a:endParaRPr>
          </a:p>
          <a:p>
            <a:pPr marL="171450" lvl="0" indent="-171450" defTabSz="457200">
              <a:spcAft>
                <a:spcPts val="600"/>
              </a:spcAft>
              <a:buFont typeface="Arial" panose="020B0604020202020204" pitchFamily="34" charset="0"/>
              <a:buChar char="•"/>
            </a:pPr>
            <a:r>
              <a:rPr lang="en-ZA" sz="1600" dirty="0">
                <a:solidFill>
                  <a:prstClr val="black"/>
                </a:solidFill>
                <a:latin typeface="Lato"/>
              </a:rPr>
              <a:t>Decentralised SC Logistics but centralise SC Demand and Acquisition to improve cost management and reduce corruption</a:t>
            </a:r>
          </a:p>
          <a:p>
            <a:pPr marL="171450" lvl="0" indent="-171450" defTabSz="457200">
              <a:spcAft>
                <a:spcPts val="600"/>
              </a:spcAft>
              <a:buFont typeface="Arial" panose="020B0604020202020204" pitchFamily="34" charset="0"/>
              <a:buChar char="•"/>
            </a:pPr>
            <a:r>
              <a:rPr lang="en-ZA" sz="1600" dirty="0">
                <a:solidFill>
                  <a:prstClr val="black"/>
                </a:solidFill>
                <a:latin typeface="Lato"/>
              </a:rPr>
              <a:t>The DCS should look at JIT stock and warehousing to obtain process efficiency gains that can be made in adopting a uniform approach</a:t>
            </a:r>
          </a:p>
          <a:p>
            <a:pPr marL="171450" lvl="0" indent="-171450" defTabSz="457200">
              <a:spcAft>
                <a:spcPts val="600"/>
              </a:spcAft>
              <a:buFont typeface="Arial" panose="020B0604020202020204" pitchFamily="34" charset="0"/>
              <a:buChar char="•"/>
            </a:pPr>
            <a:r>
              <a:rPr lang="en-ZA" sz="1600" dirty="0">
                <a:solidFill>
                  <a:prstClr val="black"/>
                </a:solidFill>
                <a:latin typeface="Lato"/>
              </a:rPr>
              <a:t>Further demand should also be leveraged out of the production and workshops entity to ensure a sustainable feed of supplies based on demand within the DCS world</a:t>
            </a: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8" name="Rectangle 7">
            <a:extLst>
              <a:ext uri="{FF2B5EF4-FFF2-40B4-BE49-F238E27FC236}">
                <a16:creationId xmlns="" xmlns:a16="http://schemas.microsoft.com/office/drawing/2014/main" id="{265594CA-0F1B-4C3D-9FBC-EA09A76F868D}"/>
              </a:ext>
            </a:extLst>
          </p:cNvPr>
          <p:cNvSpPr/>
          <p:nvPr/>
        </p:nvSpPr>
        <p:spPr>
          <a:xfrm>
            <a:off x="6653048" y="1313523"/>
            <a:ext cx="5121136" cy="4425126"/>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What needs to be done to </a:t>
            </a:r>
            <a:r>
              <a:rPr lang="en-ZA" b="1" kern="0" dirty="0" smtClean="0">
                <a:solidFill>
                  <a:prstClr val="black"/>
                </a:solidFill>
                <a:latin typeface="Lato"/>
              </a:rPr>
              <a:t>fast-track</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11" name="TextBox 10">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16" name="Rectangle 15">
            <a:extLst>
              <a:ext uri="{FF2B5EF4-FFF2-40B4-BE49-F238E27FC236}">
                <a16:creationId xmlns:a16="http://schemas.microsoft.com/office/drawing/2014/main" xmlns="" id="{27E3CA0A-70BA-40BB-B250-A98C7FF32196}"/>
              </a:ext>
            </a:extLst>
          </p:cNvPr>
          <p:cNvSpPr/>
          <p:nvPr/>
        </p:nvSpPr>
        <p:spPr>
          <a:xfrm rot="16200000">
            <a:off x="62963" y="1671936"/>
            <a:ext cx="996491" cy="314034"/>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smtClean="0">
                <a:solidFill>
                  <a:schemeClr val="bg1"/>
                </a:solidFill>
              </a:rPr>
              <a:t>SUPPLY CHAIN</a:t>
            </a:r>
            <a:endParaRPr lang="en-ZA" sz="800" b="1" dirty="0">
              <a:solidFill>
                <a:schemeClr val="bg1"/>
              </a:solidFill>
            </a:endParaRPr>
          </a:p>
        </p:txBody>
      </p:sp>
      <p:pic>
        <p:nvPicPr>
          <p:cNvPr id="19" name="Picture 18">
            <a:extLst>
              <a:ext uri="{FF2B5EF4-FFF2-40B4-BE49-F238E27FC236}">
                <a16:creationId xmlns:a16="http://schemas.microsoft.com/office/drawing/2014/main" xmlns="" id="{4BB41FE0-9FA7-44E3-97B6-D19154EFC3D2}"/>
              </a:ext>
            </a:extLst>
          </p:cNvPr>
          <p:cNvPicPr>
            <a:picLocks noChangeAspect="1"/>
          </p:cNvPicPr>
          <p:nvPr/>
        </p:nvPicPr>
        <p:blipFill>
          <a:blip r:embed="rId3"/>
          <a:stretch>
            <a:fillRect/>
          </a:stretch>
        </p:blipFill>
        <p:spPr>
          <a:xfrm>
            <a:off x="718226" y="1320253"/>
            <a:ext cx="2148195" cy="1008000"/>
          </a:xfrm>
          <a:prstGeom prst="rect">
            <a:avLst/>
          </a:prstGeom>
        </p:spPr>
      </p:pic>
    </p:spTree>
    <p:extLst>
      <p:ext uri="{BB962C8B-B14F-4D97-AF65-F5344CB8AC3E}">
        <p14:creationId xmlns:p14="http://schemas.microsoft.com/office/powerpoint/2010/main" val="41019521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graphicFrame>
        <p:nvGraphicFramePr>
          <p:cNvPr id="5" name="Table 4"/>
          <p:cNvGraphicFramePr>
            <a:graphicFrameLocks noGrp="1"/>
          </p:cNvGraphicFramePr>
          <p:nvPr>
            <p:extLst>
              <p:ext uri="{D42A27DB-BD31-4B8C-83A1-F6EECF244321}">
                <p14:modId xmlns:p14="http://schemas.microsoft.com/office/powerpoint/2010/main" val="551980501"/>
              </p:ext>
            </p:extLst>
          </p:nvPr>
        </p:nvGraphicFramePr>
        <p:xfrm>
          <a:off x="492754" y="1232661"/>
          <a:ext cx="11260881" cy="2240004"/>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endParaRPr lang="en-US" dirty="0" smtClean="0">
                        <a:solidFill>
                          <a:schemeClr val="bg1"/>
                        </a:solidFill>
                      </a:endParaRP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marL="0" algn="l" defTabSz="914400" rtl="0" eaLnBrk="1" latinLnBrk="0" hangingPunct="1"/>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309604">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r>
            </a:tbl>
          </a:graphicData>
        </a:graphic>
      </p:graphicFrame>
    </p:spTree>
    <p:extLst>
      <p:ext uri="{BB962C8B-B14F-4D97-AF65-F5344CB8AC3E}">
        <p14:creationId xmlns:p14="http://schemas.microsoft.com/office/powerpoint/2010/main" val="16095906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24438" y="169266"/>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2800" b="1" dirty="0">
                <a:solidFill>
                  <a:srgbClr val="000000"/>
                </a:solidFill>
                <a:latin typeface="Georgia"/>
                <a:sym typeface="Calibri"/>
              </a:rPr>
              <a:t>Critical success factors and management of dependencies</a:t>
            </a:r>
            <a:endParaRPr sz="28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8" name="TextBox 7"/>
          <p:cNvSpPr txBox="1"/>
          <p:nvPr/>
        </p:nvSpPr>
        <p:spPr>
          <a:xfrm>
            <a:off x="616449" y="1458930"/>
            <a:ext cx="11188558" cy="400110"/>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2000" dirty="0" smtClean="0">
                <a:latin typeface="+mj-lt"/>
              </a:rPr>
              <a:t>xx</a:t>
            </a:r>
            <a:endParaRPr lang="en-US" sz="2000" dirty="0">
              <a:latin typeface="+mj-lt"/>
            </a:endParaRPr>
          </a:p>
        </p:txBody>
      </p:sp>
    </p:spTree>
    <p:extLst>
      <p:ext uri="{BB962C8B-B14F-4D97-AF65-F5344CB8AC3E}">
        <p14:creationId xmlns:p14="http://schemas.microsoft.com/office/powerpoint/2010/main" val="37111880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3600" b="1" dirty="0">
                <a:solidFill>
                  <a:srgbClr val="000000"/>
                </a:solidFill>
                <a:latin typeface="Georgia"/>
                <a:sym typeface="Calibri"/>
              </a:rPr>
              <a:t>Conclusion</a:t>
            </a:r>
            <a:endParaRPr sz="28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32108761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3" name="Object 2" hidden="1">
            <a:extLst>
              <a:ext uri="{FF2B5EF4-FFF2-40B4-BE49-F238E27FC236}">
                <a16:creationId xmlns="" xmlns:a16="http://schemas.microsoft.com/office/drawing/2014/main" id="{16BE7A20-2016-4CBC-A7BA-00C94BDE16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2"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 xmlns:a16="http://schemas.microsoft.com/office/drawing/2014/main" id="{385CF3E6-7028-42D7-81C4-BAB7298EC5C2}"/>
              </a:ext>
            </a:extLst>
          </p:cNvPr>
          <p:cNvSpPr/>
          <p:nvPr/>
        </p:nvSpPr>
        <p:spPr>
          <a:xfrm>
            <a:off x="876300" y="0"/>
            <a:ext cx="4639726" cy="62484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a:extLst>
              <a:ext uri="{FF2B5EF4-FFF2-40B4-BE49-F238E27FC236}">
                <a16:creationId xmlns="" xmlns:a16="http://schemas.microsoft.com/office/drawing/2014/main" id="{B49F274D-0838-40BC-88AF-02BBD88706CA}"/>
              </a:ext>
            </a:extLst>
          </p:cNvPr>
          <p:cNvSpPr txBox="1">
            <a:spLocks/>
          </p:cNvSpPr>
          <p:nvPr/>
        </p:nvSpPr>
        <p:spPr>
          <a:xfrm>
            <a:off x="1278378" y="2057914"/>
            <a:ext cx="3545284" cy="166199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dirty="0">
                <a:solidFill>
                  <a:srgbClr val="FFFFFF"/>
                </a:solidFill>
                <a:latin typeface="Georgia"/>
              </a:rPr>
              <a:t>THANK</a:t>
            </a:r>
          </a:p>
          <a:p>
            <a:pPr>
              <a:lnSpc>
                <a:spcPct val="100000"/>
              </a:lnSpc>
            </a:pPr>
            <a:r>
              <a:rPr lang="en-US" sz="5400" dirty="0">
                <a:solidFill>
                  <a:srgbClr val="FFFFFF"/>
                </a:solidFill>
                <a:latin typeface="Georgia"/>
              </a:rPr>
              <a:t>YOU</a:t>
            </a:r>
            <a:endParaRPr lang="en-ID" sz="5400" dirty="0">
              <a:solidFill>
                <a:srgbClr val="FFFFFF"/>
              </a:solidFill>
              <a:latin typeface="Georgia"/>
            </a:endParaRPr>
          </a:p>
        </p:txBody>
      </p:sp>
      <p:cxnSp>
        <p:nvCxnSpPr>
          <p:cNvPr id="8" name="Straight Connector 7">
            <a:extLst>
              <a:ext uri="{FF2B5EF4-FFF2-40B4-BE49-F238E27FC236}">
                <a16:creationId xmlns="" xmlns:a16="http://schemas.microsoft.com/office/drawing/2014/main" id="{E5B0294F-CD76-4A30-A547-51FDC2BF4F55}"/>
              </a:ext>
            </a:extLst>
          </p:cNvPr>
          <p:cNvCxnSpPr>
            <a:cxnSpLocks/>
          </p:cNvCxnSpPr>
          <p:nvPr/>
        </p:nvCxnSpPr>
        <p:spPr>
          <a:xfrm flipH="1">
            <a:off x="1905000" y="4055697"/>
            <a:ext cx="358744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4C7A415C-7BB2-4638-83F1-47FE931C4138}"/>
              </a:ext>
            </a:extLst>
          </p:cNvPr>
          <p:cNvCxnSpPr>
            <a:cxnSpLocks/>
          </p:cNvCxnSpPr>
          <p:nvPr/>
        </p:nvCxnSpPr>
        <p:spPr>
          <a:xfrm flipH="1">
            <a:off x="1278378" y="4055697"/>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29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Rectangle 8">
            <a:extLst>
              <a:ext uri="{FF2B5EF4-FFF2-40B4-BE49-F238E27FC236}">
                <a16:creationId xmlns="" xmlns:a16="http://schemas.microsoft.com/office/drawing/2014/main" id="{6D0D4A4D-E24D-2F41-9FA6-C98D876AAF6D}"/>
              </a:ext>
            </a:extLst>
          </p:cNvPr>
          <p:cNvSpPr/>
          <p:nvPr/>
        </p:nvSpPr>
        <p:spPr>
          <a:xfrm>
            <a:off x="246530" y="1"/>
            <a:ext cx="1119554" cy="5651970"/>
          </a:xfrm>
          <a:prstGeom prst="rect">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0" name="Rectangle 9">
            <a:extLst>
              <a:ext uri="{FF2B5EF4-FFF2-40B4-BE49-F238E27FC236}">
                <a16:creationId xmlns="" xmlns:a16="http://schemas.microsoft.com/office/drawing/2014/main" id="{6B12DE1F-585B-2140-B2BD-40C67FF0C1F0}"/>
              </a:ext>
            </a:extLst>
          </p:cNvPr>
          <p:cNvSpPr/>
          <p:nvPr/>
        </p:nvSpPr>
        <p:spPr>
          <a:xfrm>
            <a:off x="1366084" y="0"/>
            <a:ext cx="2584934" cy="685800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ectangle 10">
            <a:extLst>
              <a:ext uri="{FF2B5EF4-FFF2-40B4-BE49-F238E27FC236}">
                <a16:creationId xmlns="" xmlns:a16="http://schemas.microsoft.com/office/drawing/2014/main" id="{232FC7D8-2C69-3447-8C60-C8D12747CDF8}"/>
              </a:ext>
            </a:extLst>
          </p:cNvPr>
          <p:cNvSpPr/>
          <p:nvPr/>
        </p:nvSpPr>
        <p:spPr>
          <a:xfrm>
            <a:off x="246530" y="5651970"/>
            <a:ext cx="1119554" cy="1217293"/>
          </a:xfrm>
          <a:prstGeom prst="rect">
            <a:avLst/>
          </a:prstGeom>
          <a:solidFill>
            <a:srgbClr val="C7A96E">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30" name="Title 1">
            <a:extLst>
              <a:ext uri="{FF2B5EF4-FFF2-40B4-BE49-F238E27FC236}">
                <a16:creationId xmlns="" xmlns:a16="http://schemas.microsoft.com/office/drawing/2014/main" id="{F5A4D105-B434-874D-A09A-E945722F8660}"/>
              </a:ext>
            </a:extLst>
          </p:cNvPr>
          <p:cNvSpPr txBox="1">
            <a:spLocks/>
          </p:cNvSpPr>
          <p:nvPr/>
        </p:nvSpPr>
        <p:spPr>
          <a:xfrm rot="16200000">
            <a:off x="-863548" y="1392708"/>
            <a:ext cx="3402872" cy="8863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smtClean="0">
                <a:ln>
                  <a:noFill/>
                </a:ln>
                <a:solidFill>
                  <a:srgbClr val="FFFFFF"/>
                </a:solidFill>
                <a:effectLst/>
                <a:uLnTx/>
                <a:uFillTx/>
                <a:latin typeface="Georgia"/>
              </a:rPr>
              <a:t>Presentation outline</a:t>
            </a:r>
            <a:endParaRPr kumimoji="0" lang="en-US" sz="3200" b="1" i="1" u="none" strike="noStrike" kern="1200" cap="none" spc="0" normalizeH="0" baseline="0" noProof="0" dirty="0">
              <a:ln>
                <a:noFill/>
              </a:ln>
              <a:solidFill>
                <a:srgbClr val="FFFFFF"/>
              </a:solidFill>
              <a:effectLst/>
              <a:uLnTx/>
              <a:uFillTx/>
              <a:latin typeface="Georgia"/>
            </a:endParaRPr>
          </a:p>
        </p:txBody>
      </p:sp>
      <p:cxnSp>
        <p:nvCxnSpPr>
          <p:cNvPr id="31" name="Straight Connector 30">
            <a:extLst>
              <a:ext uri="{FF2B5EF4-FFF2-40B4-BE49-F238E27FC236}">
                <a16:creationId xmlns="" xmlns:a16="http://schemas.microsoft.com/office/drawing/2014/main" id="{ADE5B180-9DA6-5E46-AEB8-F210FCF9F0EA}"/>
              </a:ext>
            </a:extLst>
          </p:cNvPr>
          <p:cNvCxnSpPr/>
          <p:nvPr/>
        </p:nvCxnSpPr>
        <p:spPr>
          <a:xfrm>
            <a:off x="780592" y="3537341"/>
            <a:ext cx="0" cy="2002874"/>
          </a:xfrm>
          <a:prstGeom prst="line">
            <a:avLst/>
          </a:prstGeom>
          <a:noFill/>
          <a:ln w="6350" cap="flat" cmpd="sng" algn="ctr">
            <a:solidFill>
              <a:srgbClr val="FFFFFF"/>
            </a:solidFill>
            <a:prstDash val="solid"/>
            <a:miter lim="800000"/>
          </a:ln>
          <a:effectLst/>
        </p:spPr>
      </p:cxnSp>
      <p:grpSp>
        <p:nvGrpSpPr>
          <p:cNvPr id="32" name="Group 31">
            <a:extLst>
              <a:ext uri="{FF2B5EF4-FFF2-40B4-BE49-F238E27FC236}">
                <a16:creationId xmlns="" xmlns:a16="http://schemas.microsoft.com/office/drawing/2014/main" id="{3754301D-7909-4E47-A8FF-76DB3A7026AC}"/>
              </a:ext>
            </a:extLst>
          </p:cNvPr>
          <p:cNvGrpSpPr/>
          <p:nvPr/>
        </p:nvGrpSpPr>
        <p:grpSpPr>
          <a:xfrm>
            <a:off x="534423" y="6109682"/>
            <a:ext cx="488832" cy="493336"/>
            <a:chOff x="2684463" y="3619500"/>
            <a:chExt cx="344487" cy="347663"/>
          </a:xfrm>
        </p:grpSpPr>
        <p:sp>
          <p:nvSpPr>
            <p:cNvPr id="33" name="Rectangle 32">
              <a:extLst>
                <a:ext uri="{FF2B5EF4-FFF2-40B4-BE49-F238E27FC236}">
                  <a16:creationId xmlns=""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4" name="Freeform 33">
              <a:extLst>
                <a:ext uri="{FF2B5EF4-FFF2-40B4-BE49-F238E27FC236}">
                  <a16:creationId xmlns=""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5" name="Freeform 34">
              <a:extLst>
                <a:ext uri="{FF2B5EF4-FFF2-40B4-BE49-F238E27FC236}">
                  <a16:creationId xmlns=""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6" name="Line 8">
              <a:extLst>
                <a:ext uri="{FF2B5EF4-FFF2-40B4-BE49-F238E27FC236}">
                  <a16:creationId xmlns=""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7" name="Line 9">
              <a:extLst>
                <a:ext uri="{FF2B5EF4-FFF2-40B4-BE49-F238E27FC236}">
                  <a16:creationId xmlns=""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8" name="Line 10">
              <a:extLst>
                <a:ext uri="{FF2B5EF4-FFF2-40B4-BE49-F238E27FC236}">
                  <a16:creationId xmlns=""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9" name="Freeform 38">
              <a:extLst>
                <a:ext uri="{FF2B5EF4-FFF2-40B4-BE49-F238E27FC236}">
                  <a16:creationId xmlns=""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0" name="Freeform 39">
              <a:extLst>
                <a:ext uri="{FF2B5EF4-FFF2-40B4-BE49-F238E27FC236}">
                  <a16:creationId xmlns=""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1" name="Freeform 40">
              <a:extLst>
                <a:ext uri="{FF2B5EF4-FFF2-40B4-BE49-F238E27FC236}">
                  <a16:creationId xmlns=""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2" name="Line 14">
              <a:extLst>
                <a:ext uri="{FF2B5EF4-FFF2-40B4-BE49-F238E27FC236}">
                  <a16:creationId xmlns=""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3" name="Line 15">
              <a:extLst>
                <a:ext uri="{FF2B5EF4-FFF2-40B4-BE49-F238E27FC236}">
                  <a16:creationId xmlns=""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4" name="Freeform 43">
              <a:extLst>
                <a:ext uri="{FF2B5EF4-FFF2-40B4-BE49-F238E27FC236}">
                  <a16:creationId xmlns=""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grpSp>
      <p:graphicFrame>
        <p:nvGraphicFramePr>
          <p:cNvPr id="3" name="Table 2"/>
          <p:cNvGraphicFramePr>
            <a:graphicFrameLocks noGrp="1"/>
          </p:cNvGraphicFramePr>
          <p:nvPr>
            <p:extLst>
              <p:ext uri="{D42A27DB-BD31-4B8C-83A1-F6EECF244321}">
                <p14:modId xmlns:p14="http://schemas.microsoft.com/office/powerpoint/2010/main" val="603826028"/>
              </p:ext>
            </p:extLst>
          </p:nvPr>
        </p:nvGraphicFramePr>
        <p:xfrm>
          <a:off x="2209799" y="134470"/>
          <a:ext cx="7200901" cy="6554097"/>
        </p:xfrm>
        <a:graphic>
          <a:graphicData uri="http://schemas.openxmlformats.org/drawingml/2006/table">
            <a:tbl>
              <a:tblPr firstRow="1" bandRow="1">
                <a:tableStyleId>{5C22544A-7EE6-4342-B048-85BDC9FD1C3A}</a:tableStyleId>
              </a:tblPr>
              <a:tblGrid>
                <a:gridCol w="2040065"/>
                <a:gridCol w="5160836"/>
              </a:tblGrid>
              <a:tr h="525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The futures triang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ontextual iss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Vision 20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MTSF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roblem and Solution Trees</a:t>
                      </a:r>
                    </a:p>
                    <a:p>
                      <a:endParaRPr lang="en-ZA"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Results Ch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Alternative modes of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Strategic Ris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ritical success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1354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70894"/>
            <a:ext cx="6202543"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smtClean="0">
                <a:solidFill>
                  <a:srgbClr val="FFFFFF"/>
                </a:solidFill>
                <a:latin typeface="Segoe UI Light"/>
                <a:cs typeface="Segoe UI" panose="020B0502040204020203" pitchFamily="34" charset="0"/>
              </a:rPr>
              <a:t>organisation</a:t>
            </a:r>
            <a:r>
              <a:rPr lang="en-US" sz="1400" b="1" dirty="0" smtClean="0">
                <a:solidFill>
                  <a:srgbClr val="FFFFFF"/>
                </a:solidFill>
                <a:latin typeface="Segoe UI Light"/>
                <a:cs typeface="Segoe UI" panose="020B0502040204020203" pitchFamily="34" charset="0"/>
              </a:rPr>
              <a:t> </a:t>
            </a:r>
            <a:endParaRPr lang="en-US"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a:off x="4869951" y="904126"/>
            <a:ext cx="6788649" cy="6597"/>
          </a:xfrm>
          <a:prstGeom prst="line">
            <a:avLst/>
          </a:prstGeom>
          <a:noFill/>
          <a:ln w="6350" cap="flat" cmpd="sng" algn="ctr">
            <a:solidFill>
              <a:srgbClr val="FFFFFF"/>
            </a:solidFill>
            <a:prstDash val="solid"/>
            <a:miter lim="800000"/>
          </a:ln>
          <a:effectLst/>
        </p:spPr>
      </p:cxnSp>
      <p:sp>
        <p:nvSpPr>
          <p:cNvPr id="16"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urpos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453687" y="1242000"/>
            <a:ext cx="11284626" cy="5478423"/>
          </a:xfrm>
          <a:prstGeom prst="rect">
            <a:avLst/>
          </a:prstGeom>
          <a:noFill/>
        </p:spPr>
        <p:txBody>
          <a:bodyPr wrap="square" rtlCol="0">
            <a:spAutoFit/>
          </a:bodyPr>
          <a:lstStyle/>
          <a:p>
            <a:pPr algn="just"/>
            <a:r>
              <a:rPr lang="en-US" sz="2000" dirty="0" smtClean="0"/>
              <a:t>The purpose of the presentation is to:</a:t>
            </a:r>
          </a:p>
          <a:p>
            <a:pPr algn="just"/>
            <a:endParaRPr lang="en-US" sz="2000" dirty="0"/>
          </a:p>
          <a:p>
            <a:pPr marL="342900" indent="-342900" algn="just">
              <a:spcAft>
                <a:spcPts val="1200"/>
              </a:spcAft>
              <a:buAutoNum type="arabicPeriod"/>
            </a:pPr>
            <a:r>
              <a:rPr lang="en-US" sz="2000" dirty="0" smtClean="0"/>
              <a:t>Reflect on the current realities that we are facing as a Department to identify new challenges and opportunities in this context.</a:t>
            </a:r>
          </a:p>
          <a:p>
            <a:pPr marL="342900" indent="-342900" algn="just">
              <a:spcAft>
                <a:spcPts val="1200"/>
              </a:spcAft>
              <a:buAutoNum type="arabicPeriod"/>
            </a:pPr>
            <a:r>
              <a:rPr lang="en-US" sz="2000" dirty="0" smtClean="0"/>
              <a:t>Reflect on the 50 Year Plan for the Department, assess where we are and what we need to do.</a:t>
            </a:r>
          </a:p>
          <a:p>
            <a:pPr marL="342900" indent="-342900" algn="just">
              <a:spcAft>
                <a:spcPts val="1200"/>
              </a:spcAft>
              <a:buAutoNum type="arabicPeriod"/>
            </a:pPr>
            <a:r>
              <a:rPr lang="en-US" sz="2000" dirty="0" smtClean="0"/>
              <a:t>Reflect on the 2020-25 Revised Strategic Plan (SP) and the 2020/21 Revised Annual Performance Plan (APP).  What have achieved in this regard over the past six months (Q2 performance). </a:t>
            </a:r>
          </a:p>
          <a:p>
            <a:pPr marL="342900" indent="-342900" algn="just">
              <a:spcAft>
                <a:spcPts val="1200"/>
              </a:spcAft>
              <a:buAutoNum type="arabicPeriod"/>
            </a:pPr>
            <a:r>
              <a:rPr lang="en-US" sz="2000" dirty="0" smtClean="0"/>
              <a:t>Review the Problem/ Solution Trees to determine if there are any gaps that need to be closed (new problems/ root causes) taking into consideration the current operating environment.  Are there any pathways that are blocked on the Solution </a:t>
            </a:r>
            <a:r>
              <a:rPr lang="en-US" sz="2000" dirty="0"/>
              <a:t>T</a:t>
            </a:r>
            <a:r>
              <a:rPr lang="en-US" sz="2000" dirty="0" smtClean="0"/>
              <a:t>ree, can we follow a new or different pathway to get to the same result.  Has COVID-19 open/ closed some challenges or are they still relevant.</a:t>
            </a:r>
          </a:p>
          <a:p>
            <a:pPr marL="342900" indent="-342900" algn="just">
              <a:spcAft>
                <a:spcPts val="1200"/>
              </a:spcAft>
              <a:buFontTx/>
              <a:buAutoNum type="arabicPeriod"/>
            </a:pPr>
            <a:r>
              <a:rPr lang="en-US" sz="2000" dirty="0"/>
              <a:t>Are there any outputs that we have missed in the 2020/21 APP that must be included to achieve the </a:t>
            </a:r>
            <a:r>
              <a:rPr lang="en-US" sz="2000" dirty="0" smtClean="0"/>
              <a:t>Outcomes </a:t>
            </a:r>
            <a:r>
              <a:rPr lang="en-US" sz="2000" dirty="0"/>
              <a:t>in the Revised Strategic Plan?</a:t>
            </a:r>
          </a:p>
          <a:p>
            <a:pPr marL="342900" indent="-342900" algn="just">
              <a:spcAft>
                <a:spcPts val="1200"/>
              </a:spcAft>
              <a:buAutoNum type="arabicPeriod"/>
            </a:pPr>
            <a:r>
              <a:rPr lang="en-US" sz="2000" dirty="0" smtClean="0"/>
              <a:t>How do we deliver on the strategic intent set out in the Revised SP and APP?  What are the things that we need to deliver on in the Strategic Operational Plans for 2021/22 (strategic levers)?</a:t>
            </a:r>
            <a:endParaRPr lang="en-ZA" sz="2000" dirty="0"/>
          </a:p>
        </p:txBody>
      </p:sp>
    </p:spTree>
    <p:extLst>
      <p:ext uri="{BB962C8B-B14F-4D97-AF65-F5344CB8AC3E}">
        <p14:creationId xmlns:p14="http://schemas.microsoft.com/office/powerpoint/2010/main" val="40708257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ectangle 24">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6" name="Rounded Rectangle 25">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7" name="TextBox 26">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28" name="Straight Connector 27">
            <a:extLst>
              <a:ext uri="{FF2B5EF4-FFF2-40B4-BE49-F238E27FC236}">
                <a16:creationId xmlns="" xmlns:a16="http://schemas.microsoft.com/office/drawing/2014/main" id="{D4D9F918-F730-4449-AB3E-2E8143B1A414}"/>
              </a:ext>
            </a:extLst>
          </p:cNvPr>
          <p:cNvCxnSpPr>
            <a:cxnSpLocks/>
          </p:cNvCxnSpPr>
          <p:nvPr/>
        </p:nvCxnSpPr>
        <p:spPr>
          <a:xfrm>
            <a:off x="4820461" y="898819"/>
            <a:ext cx="7022965" cy="5346"/>
          </a:xfrm>
          <a:prstGeom prst="line">
            <a:avLst/>
          </a:prstGeom>
          <a:noFill/>
          <a:ln w="6350" cap="flat" cmpd="sng" algn="ctr">
            <a:solidFill>
              <a:srgbClr val="FFFFFF"/>
            </a:solidFill>
            <a:prstDash val="solid"/>
            <a:miter lim="800000"/>
          </a:ln>
          <a:effectLst/>
        </p:spPr>
      </p:cxnSp>
      <p:sp>
        <p:nvSpPr>
          <p:cNvPr id="29"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The futures triangl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39" name="TextBox 38">
            <a:extLst>
              <a:ext uri="{FF2B5EF4-FFF2-40B4-BE49-F238E27FC236}">
                <a16:creationId xmlns:a16="http://schemas.microsoft.com/office/drawing/2014/main" xmlns="" id="{EDF13318-BE5A-4E95-9818-F671B1FE969A}"/>
              </a:ext>
            </a:extLst>
          </p:cNvPr>
          <p:cNvSpPr txBox="1"/>
          <p:nvPr/>
        </p:nvSpPr>
        <p:spPr>
          <a:xfrm>
            <a:off x="9009770" y="5461083"/>
            <a:ext cx="2743200" cy="1077218"/>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ocial and economic inequalitie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Punitive </a:t>
            </a:r>
            <a:r>
              <a:rPr lang="en-US" sz="1400" dirty="0">
                <a:solidFill>
                  <a:prstClr val="black">
                    <a:lumMod val="75000"/>
                    <a:lumOff val="25000"/>
                  </a:prstClr>
                </a:solidFill>
                <a:latin typeface="Segoe UI"/>
              </a:rPr>
              <a:t>philosophy of corrections </a:t>
            </a:r>
            <a:endParaRPr lang="en-US" sz="1400" dirty="0" smtClean="0">
              <a:solidFill>
                <a:prstClr val="black">
                  <a:lumMod val="75000"/>
                  <a:lumOff val="25000"/>
                </a:prstClr>
              </a:solidFill>
              <a:latin typeface="Segoe UI"/>
            </a:endParaRPr>
          </a:p>
          <a:p>
            <a:pPr defTabSz="457200">
              <a:buClr>
                <a:srgbClr val="1D9A78"/>
              </a:buClr>
            </a:pPr>
            <a:endParaRPr lang="en-US" sz="1400" dirty="0">
              <a:solidFill>
                <a:prstClr val="black">
                  <a:lumMod val="75000"/>
                  <a:lumOff val="25000"/>
                </a:prstClr>
              </a:solidFill>
              <a:latin typeface="Segoe UI"/>
            </a:endParaRPr>
          </a:p>
        </p:txBody>
      </p:sp>
      <p:sp>
        <p:nvSpPr>
          <p:cNvPr id="40" name="TextBox 39">
            <a:extLst>
              <a:ext uri="{FF2B5EF4-FFF2-40B4-BE49-F238E27FC236}">
                <a16:creationId xmlns:a16="http://schemas.microsoft.com/office/drawing/2014/main" xmlns="" id="{51E5BD28-2346-4B59-A331-6ACDD2812D5D}"/>
              </a:ext>
            </a:extLst>
          </p:cNvPr>
          <p:cNvSpPr txBox="1"/>
          <p:nvPr/>
        </p:nvSpPr>
        <p:spPr>
          <a:xfrm>
            <a:off x="977871" y="5638674"/>
            <a:ext cx="2743200" cy="646331"/>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EF budget cut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COVID-19 </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SF </a:t>
            </a:r>
            <a:endParaRPr lang="en-US" sz="1400" dirty="0">
              <a:solidFill>
                <a:prstClr val="black">
                  <a:lumMod val="75000"/>
                  <a:lumOff val="25000"/>
                </a:prstClr>
              </a:solidFill>
              <a:latin typeface="Segoe UI"/>
            </a:endParaRPr>
          </a:p>
        </p:txBody>
      </p:sp>
      <p:sp>
        <p:nvSpPr>
          <p:cNvPr id="41" name="TextBox 40">
            <a:extLst>
              <a:ext uri="{FF2B5EF4-FFF2-40B4-BE49-F238E27FC236}">
                <a16:creationId xmlns:a16="http://schemas.microsoft.com/office/drawing/2014/main" xmlns="" id="{DC47793E-94A1-452E-94E3-B4DA4F325110}"/>
              </a:ext>
            </a:extLst>
          </p:cNvPr>
          <p:cNvSpPr txBox="1"/>
          <p:nvPr/>
        </p:nvSpPr>
        <p:spPr>
          <a:xfrm>
            <a:off x="6407728" y="1812697"/>
            <a:ext cx="2743200" cy="215444"/>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A country free of crime</a:t>
            </a:r>
            <a:endParaRPr lang="en-US" sz="1400" dirty="0">
              <a:solidFill>
                <a:prstClr val="black">
                  <a:lumMod val="75000"/>
                  <a:lumOff val="25000"/>
                </a:prstClr>
              </a:solidFill>
              <a:latin typeface="Segoe UI"/>
            </a:endParaRPr>
          </a:p>
        </p:txBody>
      </p:sp>
      <p:sp>
        <p:nvSpPr>
          <p:cNvPr id="42" name="TextBox 41">
            <a:extLst>
              <a:ext uri="{FF2B5EF4-FFF2-40B4-BE49-F238E27FC236}">
                <a16:creationId xmlns:a16="http://schemas.microsoft.com/office/drawing/2014/main" xmlns="" id="{F83931A5-178D-4718-9EA2-092B54998AAC}"/>
              </a:ext>
            </a:extLst>
          </p:cNvPr>
          <p:cNvSpPr txBox="1"/>
          <p:nvPr/>
        </p:nvSpPr>
        <p:spPr>
          <a:xfrm>
            <a:off x="6407728" y="1535699"/>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ll of the future</a:t>
            </a:r>
            <a:endParaRPr lang="en-US" sz="1600" b="1" dirty="0">
              <a:solidFill>
                <a:prstClr val="black">
                  <a:lumMod val="75000"/>
                  <a:lumOff val="25000"/>
                </a:prstClr>
              </a:solidFill>
              <a:latin typeface="Century Gothic"/>
            </a:endParaRPr>
          </a:p>
        </p:txBody>
      </p:sp>
      <p:sp>
        <p:nvSpPr>
          <p:cNvPr id="43" name="TextBox 42">
            <a:extLst>
              <a:ext uri="{FF2B5EF4-FFF2-40B4-BE49-F238E27FC236}">
                <a16:creationId xmlns:a16="http://schemas.microsoft.com/office/drawing/2014/main" xmlns="" id="{6EEB5E61-09D8-4367-9A30-488ABB06BEA2}"/>
              </a:ext>
            </a:extLst>
          </p:cNvPr>
          <p:cNvSpPr txBox="1"/>
          <p:nvPr/>
        </p:nvSpPr>
        <p:spPr>
          <a:xfrm>
            <a:off x="9009770" y="5160381"/>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Weight of the past</a:t>
            </a:r>
            <a:endParaRPr lang="en-US" sz="1600" b="1" dirty="0">
              <a:solidFill>
                <a:prstClr val="black">
                  <a:lumMod val="75000"/>
                  <a:lumOff val="25000"/>
                </a:prstClr>
              </a:solidFill>
              <a:latin typeface="Century Gothic"/>
            </a:endParaRPr>
          </a:p>
        </p:txBody>
      </p:sp>
      <p:sp>
        <p:nvSpPr>
          <p:cNvPr id="44" name="TextBox 43">
            <a:extLst>
              <a:ext uri="{FF2B5EF4-FFF2-40B4-BE49-F238E27FC236}">
                <a16:creationId xmlns:a16="http://schemas.microsoft.com/office/drawing/2014/main" xmlns="" id="{28FFEF39-D591-4CBA-8B23-1E463205455C}"/>
              </a:ext>
            </a:extLst>
          </p:cNvPr>
          <p:cNvSpPr txBox="1"/>
          <p:nvPr/>
        </p:nvSpPr>
        <p:spPr>
          <a:xfrm>
            <a:off x="977871" y="5337972"/>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sh of the present</a:t>
            </a:r>
            <a:endParaRPr lang="en-US" sz="1600" b="1" dirty="0">
              <a:solidFill>
                <a:prstClr val="black">
                  <a:lumMod val="75000"/>
                  <a:lumOff val="25000"/>
                </a:prstClr>
              </a:solidFill>
              <a:latin typeface="Century Gothic"/>
            </a:endParaRPr>
          </a:p>
        </p:txBody>
      </p:sp>
      <p:grpSp>
        <p:nvGrpSpPr>
          <p:cNvPr id="3" name="Group 2"/>
          <p:cNvGrpSpPr/>
          <p:nvPr/>
        </p:nvGrpSpPr>
        <p:grpSpPr>
          <a:xfrm>
            <a:off x="2750885" y="1368924"/>
            <a:ext cx="6027674" cy="4993456"/>
            <a:chOff x="3381603" y="1368924"/>
            <a:chExt cx="5396955" cy="4580378"/>
          </a:xfrm>
        </p:grpSpPr>
        <p:sp>
          <p:nvSpPr>
            <p:cNvPr id="30" name="Isosceles Triangle 29">
              <a:extLst>
                <a:ext uri="{FF2B5EF4-FFF2-40B4-BE49-F238E27FC236}">
                  <a16:creationId xmlns:a16="http://schemas.microsoft.com/office/drawing/2014/main" xmlns="" id="{B8EB1900-C0BF-4A8E-A4F5-94992B962481}"/>
                </a:ext>
              </a:extLst>
            </p:cNvPr>
            <p:cNvSpPr/>
            <p:nvPr/>
          </p:nvSpPr>
          <p:spPr>
            <a:xfrm>
              <a:off x="5234624" y="1368924"/>
              <a:ext cx="1722748" cy="1485129"/>
            </a:xfrm>
            <a:prstGeom prst="triangle">
              <a:avLst/>
            </a:prstGeom>
            <a:solidFill>
              <a:srgbClr val="1D9A78"/>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1" name="Isosceles Triangle 30">
              <a:extLst>
                <a:ext uri="{FF2B5EF4-FFF2-40B4-BE49-F238E27FC236}">
                  <a16:creationId xmlns:a16="http://schemas.microsoft.com/office/drawing/2014/main" xmlns="" id="{D5B03CDC-5287-44F5-8AF2-2BC7555C67A3}"/>
                </a:ext>
              </a:extLst>
            </p:cNvPr>
            <p:cNvSpPr/>
            <p:nvPr/>
          </p:nvSpPr>
          <p:spPr>
            <a:xfrm rot="10800000">
              <a:off x="523462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2" name="Isosceles Triangle 31">
              <a:extLst>
                <a:ext uri="{FF2B5EF4-FFF2-40B4-BE49-F238E27FC236}">
                  <a16:creationId xmlns:a16="http://schemas.microsoft.com/office/drawing/2014/main" xmlns="" id="{D3B44D03-A6C7-4B53-AA3E-23781EB5BEF1}"/>
                </a:ext>
              </a:extLst>
            </p:cNvPr>
            <p:cNvSpPr/>
            <p:nvPr/>
          </p:nvSpPr>
          <p:spPr>
            <a:xfrm>
              <a:off x="616113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3" name="Isosceles Triangle 32">
              <a:extLst>
                <a:ext uri="{FF2B5EF4-FFF2-40B4-BE49-F238E27FC236}">
                  <a16:creationId xmlns:a16="http://schemas.microsoft.com/office/drawing/2014/main" xmlns="" id="{B4918714-A6BD-49B2-A3E0-7A8C7DA799AB}"/>
                </a:ext>
              </a:extLst>
            </p:cNvPr>
            <p:cNvSpPr/>
            <p:nvPr/>
          </p:nvSpPr>
          <p:spPr>
            <a:xfrm>
              <a:off x="4308114"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4" name="Isosceles Triangle 33">
              <a:extLst>
                <a:ext uri="{FF2B5EF4-FFF2-40B4-BE49-F238E27FC236}">
                  <a16:creationId xmlns:a16="http://schemas.microsoft.com/office/drawing/2014/main" xmlns="" id="{98C06949-849F-462F-889B-6FEC61584955}"/>
                </a:ext>
              </a:extLst>
            </p:cNvPr>
            <p:cNvSpPr/>
            <p:nvPr/>
          </p:nvSpPr>
          <p:spPr>
            <a:xfrm rot="10800000">
              <a:off x="430811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5" name="Isosceles Triangle 34">
              <a:extLst>
                <a:ext uri="{FF2B5EF4-FFF2-40B4-BE49-F238E27FC236}">
                  <a16:creationId xmlns:a16="http://schemas.microsoft.com/office/drawing/2014/main" xmlns="" id="{446C93AD-C84D-4EBF-836B-11E75E5FDC3A}"/>
                </a:ext>
              </a:extLst>
            </p:cNvPr>
            <p:cNvSpPr/>
            <p:nvPr/>
          </p:nvSpPr>
          <p:spPr>
            <a:xfrm>
              <a:off x="523462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6" name="Isosceles Triangle 35">
              <a:extLst>
                <a:ext uri="{FF2B5EF4-FFF2-40B4-BE49-F238E27FC236}">
                  <a16:creationId xmlns:a16="http://schemas.microsoft.com/office/drawing/2014/main" xmlns="" id="{48DE98A3-92E2-4864-9303-333D1FBE9EF7}"/>
                </a:ext>
              </a:extLst>
            </p:cNvPr>
            <p:cNvSpPr/>
            <p:nvPr/>
          </p:nvSpPr>
          <p:spPr>
            <a:xfrm>
              <a:off x="3381603" y="4443399"/>
              <a:ext cx="1722748" cy="1485129"/>
            </a:xfrm>
            <a:prstGeom prst="triangle">
              <a:avLst/>
            </a:prstGeom>
            <a:solidFill>
              <a:srgbClr val="36AFCE"/>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7" name="Isosceles Triangle 36">
              <a:extLst>
                <a:ext uri="{FF2B5EF4-FFF2-40B4-BE49-F238E27FC236}">
                  <a16:creationId xmlns:a16="http://schemas.microsoft.com/office/drawing/2014/main" xmlns="" id="{068A30B3-3DA2-4B53-A6C4-7EE613F3292D}"/>
                </a:ext>
              </a:extLst>
            </p:cNvPr>
            <p:cNvSpPr/>
            <p:nvPr/>
          </p:nvSpPr>
          <p:spPr>
            <a:xfrm rot="10800000">
              <a:off x="6161139"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8" name="Isosceles Triangle 37">
              <a:extLst>
                <a:ext uri="{FF2B5EF4-FFF2-40B4-BE49-F238E27FC236}">
                  <a16:creationId xmlns:a16="http://schemas.microsoft.com/office/drawing/2014/main" xmlns="" id="{4480550F-258B-449C-9516-3E5E1A1D79F7}"/>
                </a:ext>
              </a:extLst>
            </p:cNvPr>
            <p:cNvSpPr/>
            <p:nvPr/>
          </p:nvSpPr>
          <p:spPr>
            <a:xfrm>
              <a:off x="7055810" y="4464173"/>
              <a:ext cx="1722748" cy="1485129"/>
            </a:xfrm>
            <a:prstGeom prst="triangle">
              <a:avLst/>
            </a:prstGeom>
            <a:solidFill>
              <a:srgbClr val="8BC145"/>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nvGrpSpPr>
            <p:cNvPr id="45" name="Group 44">
              <a:extLst>
                <a:ext uri="{FF2B5EF4-FFF2-40B4-BE49-F238E27FC236}">
                  <a16:creationId xmlns:a16="http://schemas.microsoft.com/office/drawing/2014/main" xmlns="" id="{E4699F6B-090E-4AE0-9F76-5ED380702B80}"/>
                </a:ext>
              </a:extLst>
            </p:cNvPr>
            <p:cNvGrpSpPr/>
            <p:nvPr/>
          </p:nvGrpSpPr>
          <p:grpSpPr>
            <a:xfrm>
              <a:off x="5869585" y="2186462"/>
              <a:ext cx="322553" cy="292257"/>
              <a:chOff x="6448425" y="796925"/>
              <a:chExt cx="287338" cy="260350"/>
            </a:xfrm>
            <a:solidFill>
              <a:sysClr val="window" lastClr="FFFFFF"/>
            </a:solidFill>
          </p:grpSpPr>
          <p:sp>
            <p:nvSpPr>
              <p:cNvPr id="46" name="Freeform 3562">
                <a:extLst>
                  <a:ext uri="{FF2B5EF4-FFF2-40B4-BE49-F238E27FC236}">
                    <a16:creationId xmlns:a16="http://schemas.microsoft.com/office/drawing/2014/main" xmlns="" id="{A9005FA7-0A4A-481C-A7F7-24DA4EAAAD25}"/>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47" name="Freeform 3563">
                <a:extLst>
                  <a:ext uri="{FF2B5EF4-FFF2-40B4-BE49-F238E27FC236}">
                    <a16:creationId xmlns:a16="http://schemas.microsoft.com/office/drawing/2014/main" xmlns="" id="{CAC65383-3825-428A-B61E-0BFD466C6BD8}"/>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48" name="Group 47">
              <a:extLst>
                <a:ext uri="{FF2B5EF4-FFF2-40B4-BE49-F238E27FC236}">
                  <a16:creationId xmlns:a16="http://schemas.microsoft.com/office/drawing/2014/main" xmlns="" id="{0BF71FD6-8EEE-4D40-A67B-108744ECDFDD}"/>
                </a:ext>
              </a:extLst>
            </p:cNvPr>
            <p:cNvGrpSpPr/>
            <p:nvPr/>
          </p:nvGrpSpPr>
          <p:grpSpPr>
            <a:xfrm>
              <a:off x="7799930" y="5185963"/>
              <a:ext cx="320770" cy="315423"/>
              <a:chOff x="8739188" y="1347788"/>
              <a:chExt cx="285750" cy="280987"/>
            </a:xfrm>
            <a:solidFill>
              <a:sysClr val="window" lastClr="FFFFFF"/>
            </a:solidFill>
          </p:grpSpPr>
          <p:sp>
            <p:nvSpPr>
              <p:cNvPr id="49" name="Freeform 3556">
                <a:extLst>
                  <a:ext uri="{FF2B5EF4-FFF2-40B4-BE49-F238E27FC236}">
                    <a16:creationId xmlns:a16="http://schemas.microsoft.com/office/drawing/2014/main" xmlns="" id="{8B514793-46F9-4C4D-9DBD-1B3486D0BA7A}"/>
                  </a:ext>
                </a:extLst>
              </p:cNvPr>
              <p:cNvSpPr>
                <a:spLocks/>
              </p:cNvSpPr>
              <p:nvPr/>
            </p:nvSpPr>
            <p:spPr bwMode="auto">
              <a:xfrm>
                <a:off x="8739188" y="1466850"/>
                <a:ext cx="285750" cy="161925"/>
              </a:xfrm>
              <a:custGeom>
                <a:avLst/>
                <a:gdLst>
                  <a:gd name="T0" fmla="*/ 720 w 720"/>
                  <a:gd name="T1" fmla="*/ 200 h 408"/>
                  <a:gd name="T2" fmla="*/ 719 w 720"/>
                  <a:gd name="T3" fmla="*/ 199 h 408"/>
                  <a:gd name="T4" fmla="*/ 611 w 720"/>
                  <a:gd name="T5" fmla="*/ 6 h 408"/>
                  <a:gd name="T6" fmla="*/ 606 w 720"/>
                  <a:gd name="T7" fmla="*/ 3 h 408"/>
                  <a:gd name="T8" fmla="*/ 601 w 720"/>
                  <a:gd name="T9" fmla="*/ 0 h 408"/>
                  <a:gd name="T10" fmla="*/ 427 w 720"/>
                  <a:gd name="T11" fmla="*/ 1 h 408"/>
                  <a:gd name="T12" fmla="*/ 421 w 720"/>
                  <a:gd name="T13" fmla="*/ 8 h 408"/>
                  <a:gd name="T14" fmla="*/ 421 w 720"/>
                  <a:gd name="T15" fmla="*/ 17 h 408"/>
                  <a:gd name="T16" fmla="*/ 427 w 720"/>
                  <a:gd name="T17" fmla="*/ 23 h 408"/>
                  <a:gd name="T18" fmla="*/ 593 w 720"/>
                  <a:gd name="T19" fmla="*/ 24 h 408"/>
                  <a:gd name="T20" fmla="*/ 491 w 720"/>
                  <a:gd name="T21" fmla="*/ 193 h 408"/>
                  <a:gd name="T22" fmla="*/ 484 w 720"/>
                  <a:gd name="T23" fmla="*/ 197 h 408"/>
                  <a:gd name="T24" fmla="*/ 480 w 720"/>
                  <a:gd name="T25" fmla="*/ 204 h 408"/>
                  <a:gd name="T26" fmla="*/ 479 w 720"/>
                  <a:gd name="T27" fmla="*/ 235 h 408"/>
                  <a:gd name="T28" fmla="*/ 470 w 720"/>
                  <a:gd name="T29" fmla="*/ 248 h 408"/>
                  <a:gd name="T30" fmla="*/ 455 w 720"/>
                  <a:gd name="T31" fmla="*/ 258 h 408"/>
                  <a:gd name="T32" fmla="*/ 439 w 720"/>
                  <a:gd name="T33" fmla="*/ 263 h 408"/>
                  <a:gd name="T34" fmla="*/ 300 w 720"/>
                  <a:gd name="T35" fmla="*/ 265 h 408"/>
                  <a:gd name="T36" fmla="*/ 286 w 720"/>
                  <a:gd name="T37" fmla="*/ 262 h 408"/>
                  <a:gd name="T38" fmla="*/ 274 w 720"/>
                  <a:gd name="T39" fmla="*/ 253 h 408"/>
                  <a:gd name="T40" fmla="*/ 267 w 720"/>
                  <a:gd name="T41" fmla="*/ 241 h 408"/>
                  <a:gd name="T42" fmla="*/ 264 w 720"/>
                  <a:gd name="T43" fmla="*/ 227 h 408"/>
                  <a:gd name="T44" fmla="*/ 263 w 720"/>
                  <a:gd name="T45" fmla="*/ 200 h 408"/>
                  <a:gd name="T46" fmla="*/ 256 w 720"/>
                  <a:gd name="T47" fmla="*/ 194 h 408"/>
                  <a:gd name="T48" fmla="*/ 32 w 720"/>
                  <a:gd name="T49" fmla="*/ 193 h 408"/>
                  <a:gd name="T50" fmla="*/ 191 w 720"/>
                  <a:gd name="T51" fmla="*/ 24 h 408"/>
                  <a:gd name="T52" fmla="*/ 200 w 720"/>
                  <a:gd name="T53" fmla="*/ 21 h 408"/>
                  <a:gd name="T54" fmla="*/ 204 w 720"/>
                  <a:gd name="T55" fmla="*/ 13 h 408"/>
                  <a:gd name="T56" fmla="*/ 200 w 720"/>
                  <a:gd name="T57" fmla="*/ 4 h 408"/>
                  <a:gd name="T58" fmla="*/ 191 w 720"/>
                  <a:gd name="T59" fmla="*/ 0 h 408"/>
                  <a:gd name="T60" fmla="*/ 116 w 720"/>
                  <a:gd name="T61" fmla="*/ 1 h 408"/>
                  <a:gd name="T62" fmla="*/ 111 w 720"/>
                  <a:gd name="T63" fmla="*/ 4 h 408"/>
                  <a:gd name="T64" fmla="*/ 1 w 720"/>
                  <a:gd name="T65" fmla="*/ 199 h 408"/>
                  <a:gd name="T66" fmla="*/ 1 w 720"/>
                  <a:gd name="T67" fmla="*/ 199 h 408"/>
                  <a:gd name="T68" fmla="*/ 0 w 720"/>
                  <a:gd name="T69" fmla="*/ 202 h 408"/>
                  <a:gd name="T70" fmla="*/ 0 w 720"/>
                  <a:gd name="T71" fmla="*/ 204 h 408"/>
                  <a:gd name="T72" fmla="*/ 0 w 720"/>
                  <a:gd name="T73" fmla="*/ 204 h 408"/>
                  <a:gd name="T74" fmla="*/ 0 w 720"/>
                  <a:gd name="T75" fmla="*/ 401 h 408"/>
                  <a:gd name="T76" fmla="*/ 6 w 720"/>
                  <a:gd name="T77" fmla="*/ 407 h 408"/>
                  <a:gd name="T78" fmla="*/ 708 w 720"/>
                  <a:gd name="T79" fmla="*/ 408 h 408"/>
                  <a:gd name="T80" fmla="*/ 716 w 720"/>
                  <a:gd name="T81" fmla="*/ 405 h 408"/>
                  <a:gd name="T82" fmla="*/ 720 w 720"/>
                  <a:gd name="T83" fmla="*/ 397 h 408"/>
                  <a:gd name="T84" fmla="*/ 720 w 720"/>
                  <a:gd name="T85" fmla="*/ 204 h 408"/>
                  <a:gd name="T86" fmla="*/ 720 w 720"/>
                  <a:gd name="T87" fmla="*/ 20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0" h="408">
                    <a:moveTo>
                      <a:pt x="720" y="202"/>
                    </a:moveTo>
                    <a:lnTo>
                      <a:pt x="720" y="200"/>
                    </a:lnTo>
                    <a:lnTo>
                      <a:pt x="719" y="199"/>
                    </a:lnTo>
                    <a:lnTo>
                      <a:pt x="719" y="199"/>
                    </a:lnTo>
                    <a:lnTo>
                      <a:pt x="719" y="199"/>
                    </a:lnTo>
                    <a:lnTo>
                      <a:pt x="611" y="6"/>
                    </a:lnTo>
                    <a:lnTo>
                      <a:pt x="608" y="4"/>
                    </a:lnTo>
                    <a:lnTo>
                      <a:pt x="606" y="3"/>
                    </a:lnTo>
                    <a:lnTo>
                      <a:pt x="603" y="1"/>
                    </a:lnTo>
                    <a:lnTo>
                      <a:pt x="601" y="0"/>
                    </a:lnTo>
                    <a:lnTo>
                      <a:pt x="432" y="0"/>
                    </a:lnTo>
                    <a:lnTo>
                      <a:pt x="427" y="1"/>
                    </a:lnTo>
                    <a:lnTo>
                      <a:pt x="423" y="4"/>
                    </a:lnTo>
                    <a:lnTo>
                      <a:pt x="421" y="8"/>
                    </a:lnTo>
                    <a:lnTo>
                      <a:pt x="419" y="13"/>
                    </a:lnTo>
                    <a:lnTo>
                      <a:pt x="421" y="17"/>
                    </a:lnTo>
                    <a:lnTo>
                      <a:pt x="423" y="21"/>
                    </a:lnTo>
                    <a:lnTo>
                      <a:pt x="427" y="23"/>
                    </a:lnTo>
                    <a:lnTo>
                      <a:pt x="432" y="24"/>
                    </a:lnTo>
                    <a:lnTo>
                      <a:pt x="593" y="24"/>
                    </a:lnTo>
                    <a:lnTo>
                      <a:pt x="688" y="193"/>
                    </a:lnTo>
                    <a:lnTo>
                      <a:pt x="491" y="193"/>
                    </a:lnTo>
                    <a:lnTo>
                      <a:pt x="488" y="194"/>
                    </a:lnTo>
                    <a:lnTo>
                      <a:pt x="484" y="197"/>
                    </a:lnTo>
                    <a:lnTo>
                      <a:pt x="481" y="200"/>
                    </a:lnTo>
                    <a:lnTo>
                      <a:pt x="480" y="204"/>
                    </a:lnTo>
                    <a:lnTo>
                      <a:pt x="480" y="229"/>
                    </a:lnTo>
                    <a:lnTo>
                      <a:pt x="479" y="235"/>
                    </a:lnTo>
                    <a:lnTo>
                      <a:pt x="475" y="241"/>
                    </a:lnTo>
                    <a:lnTo>
                      <a:pt x="470" y="248"/>
                    </a:lnTo>
                    <a:lnTo>
                      <a:pt x="463" y="253"/>
                    </a:lnTo>
                    <a:lnTo>
                      <a:pt x="455" y="258"/>
                    </a:lnTo>
                    <a:lnTo>
                      <a:pt x="448" y="262"/>
                    </a:lnTo>
                    <a:lnTo>
                      <a:pt x="439" y="263"/>
                    </a:lnTo>
                    <a:lnTo>
                      <a:pt x="432" y="265"/>
                    </a:lnTo>
                    <a:lnTo>
                      <a:pt x="300" y="265"/>
                    </a:lnTo>
                    <a:lnTo>
                      <a:pt x="294" y="263"/>
                    </a:lnTo>
                    <a:lnTo>
                      <a:pt x="286" y="262"/>
                    </a:lnTo>
                    <a:lnTo>
                      <a:pt x="281" y="258"/>
                    </a:lnTo>
                    <a:lnTo>
                      <a:pt x="274" y="253"/>
                    </a:lnTo>
                    <a:lnTo>
                      <a:pt x="270" y="247"/>
                    </a:lnTo>
                    <a:lnTo>
                      <a:pt x="267" y="241"/>
                    </a:lnTo>
                    <a:lnTo>
                      <a:pt x="264" y="234"/>
                    </a:lnTo>
                    <a:lnTo>
                      <a:pt x="264" y="227"/>
                    </a:lnTo>
                    <a:lnTo>
                      <a:pt x="264" y="204"/>
                    </a:lnTo>
                    <a:lnTo>
                      <a:pt x="263" y="200"/>
                    </a:lnTo>
                    <a:lnTo>
                      <a:pt x="260" y="197"/>
                    </a:lnTo>
                    <a:lnTo>
                      <a:pt x="256" y="194"/>
                    </a:lnTo>
                    <a:lnTo>
                      <a:pt x="251" y="193"/>
                    </a:lnTo>
                    <a:lnTo>
                      <a:pt x="32" y="193"/>
                    </a:lnTo>
                    <a:lnTo>
                      <a:pt x="127" y="24"/>
                    </a:lnTo>
                    <a:lnTo>
                      <a:pt x="191" y="24"/>
                    </a:lnTo>
                    <a:lnTo>
                      <a:pt x="196" y="23"/>
                    </a:lnTo>
                    <a:lnTo>
                      <a:pt x="200" y="21"/>
                    </a:lnTo>
                    <a:lnTo>
                      <a:pt x="202" y="17"/>
                    </a:lnTo>
                    <a:lnTo>
                      <a:pt x="204" y="13"/>
                    </a:lnTo>
                    <a:lnTo>
                      <a:pt x="202" y="8"/>
                    </a:lnTo>
                    <a:lnTo>
                      <a:pt x="200" y="4"/>
                    </a:lnTo>
                    <a:lnTo>
                      <a:pt x="196" y="1"/>
                    </a:lnTo>
                    <a:lnTo>
                      <a:pt x="191" y="0"/>
                    </a:lnTo>
                    <a:lnTo>
                      <a:pt x="119" y="0"/>
                    </a:lnTo>
                    <a:lnTo>
                      <a:pt x="116" y="1"/>
                    </a:lnTo>
                    <a:lnTo>
                      <a:pt x="114" y="3"/>
                    </a:lnTo>
                    <a:lnTo>
                      <a:pt x="111" y="4"/>
                    </a:lnTo>
                    <a:lnTo>
                      <a:pt x="109" y="6"/>
                    </a:lnTo>
                    <a:lnTo>
                      <a:pt x="1" y="199"/>
                    </a:lnTo>
                    <a:lnTo>
                      <a:pt x="1" y="199"/>
                    </a:lnTo>
                    <a:lnTo>
                      <a:pt x="1" y="199"/>
                    </a:lnTo>
                    <a:lnTo>
                      <a:pt x="0" y="200"/>
                    </a:lnTo>
                    <a:lnTo>
                      <a:pt x="0" y="202"/>
                    </a:lnTo>
                    <a:lnTo>
                      <a:pt x="0" y="203"/>
                    </a:lnTo>
                    <a:lnTo>
                      <a:pt x="0" y="204"/>
                    </a:lnTo>
                    <a:lnTo>
                      <a:pt x="0" y="204"/>
                    </a:lnTo>
                    <a:lnTo>
                      <a:pt x="0" y="204"/>
                    </a:lnTo>
                    <a:lnTo>
                      <a:pt x="0" y="396"/>
                    </a:lnTo>
                    <a:lnTo>
                      <a:pt x="0" y="401"/>
                    </a:lnTo>
                    <a:lnTo>
                      <a:pt x="2" y="405"/>
                    </a:lnTo>
                    <a:lnTo>
                      <a:pt x="6" y="407"/>
                    </a:lnTo>
                    <a:lnTo>
                      <a:pt x="11" y="408"/>
                    </a:lnTo>
                    <a:lnTo>
                      <a:pt x="708" y="408"/>
                    </a:lnTo>
                    <a:lnTo>
                      <a:pt x="714" y="407"/>
                    </a:lnTo>
                    <a:lnTo>
                      <a:pt x="716" y="405"/>
                    </a:lnTo>
                    <a:lnTo>
                      <a:pt x="719" y="401"/>
                    </a:lnTo>
                    <a:lnTo>
                      <a:pt x="720" y="397"/>
                    </a:lnTo>
                    <a:lnTo>
                      <a:pt x="720" y="204"/>
                    </a:lnTo>
                    <a:lnTo>
                      <a:pt x="720" y="204"/>
                    </a:lnTo>
                    <a:lnTo>
                      <a:pt x="720" y="204"/>
                    </a:lnTo>
                    <a:lnTo>
                      <a:pt x="720" y="203"/>
                    </a:lnTo>
                    <a:lnTo>
                      <a:pt x="72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0" name="Freeform 3557">
                <a:extLst>
                  <a:ext uri="{FF2B5EF4-FFF2-40B4-BE49-F238E27FC236}">
                    <a16:creationId xmlns:a16="http://schemas.microsoft.com/office/drawing/2014/main" xmlns="" id="{C8E4BC88-BFE1-4DF7-AAF0-1E9E82053F2F}"/>
                  </a:ext>
                </a:extLst>
              </p:cNvPr>
              <p:cNvSpPr>
                <a:spLocks/>
              </p:cNvSpPr>
              <p:nvPr/>
            </p:nvSpPr>
            <p:spPr bwMode="auto">
              <a:xfrm>
                <a:off x="8836025" y="1347788"/>
                <a:ext cx="188912" cy="173038"/>
              </a:xfrm>
              <a:custGeom>
                <a:avLst/>
                <a:gdLst>
                  <a:gd name="T0" fmla="*/ 11 w 478"/>
                  <a:gd name="T1" fmla="*/ 434 h 434"/>
                  <a:gd name="T2" fmla="*/ 16 w 478"/>
                  <a:gd name="T3" fmla="*/ 432 h 434"/>
                  <a:gd name="T4" fmla="*/ 22 w 478"/>
                  <a:gd name="T5" fmla="*/ 427 h 434"/>
                  <a:gd name="T6" fmla="*/ 26 w 478"/>
                  <a:gd name="T7" fmla="*/ 414 h 434"/>
                  <a:gd name="T8" fmla="*/ 43 w 478"/>
                  <a:gd name="T9" fmla="*/ 373 h 434"/>
                  <a:gd name="T10" fmla="*/ 64 w 478"/>
                  <a:gd name="T11" fmla="*/ 336 h 434"/>
                  <a:gd name="T12" fmla="*/ 97 w 478"/>
                  <a:gd name="T13" fmla="*/ 296 h 434"/>
                  <a:gd name="T14" fmla="*/ 127 w 478"/>
                  <a:gd name="T15" fmla="*/ 267 h 434"/>
                  <a:gd name="T16" fmla="*/ 153 w 478"/>
                  <a:gd name="T17" fmla="*/ 250 h 434"/>
                  <a:gd name="T18" fmla="*/ 181 w 478"/>
                  <a:gd name="T19" fmla="*/ 233 h 434"/>
                  <a:gd name="T20" fmla="*/ 213 w 478"/>
                  <a:gd name="T21" fmla="*/ 220 h 434"/>
                  <a:gd name="T22" fmla="*/ 248 w 478"/>
                  <a:gd name="T23" fmla="*/ 211 h 434"/>
                  <a:gd name="T24" fmla="*/ 288 w 478"/>
                  <a:gd name="T25" fmla="*/ 205 h 434"/>
                  <a:gd name="T26" fmla="*/ 310 w 478"/>
                  <a:gd name="T27" fmla="*/ 253 h 434"/>
                  <a:gd name="T28" fmla="*/ 312 w 478"/>
                  <a:gd name="T29" fmla="*/ 259 h 434"/>
                  <a:gd name="T30" fmla="*/ 317 w 478"/>
                  <a:gd name="T31" fmla="*/ 263 h 434"/>
                  <a:gd name="T32" fmla="*/ 324 w 478"/>
                  <a:gd name="T33" fmla="*/ 264 h 434"/>
                  <a:gd name="T34" fmla="*/ 330 w 478"/>
                  <a:gd name="T35" fmla="*/ 262 h 434"/>
                  <a:gd name="T36" fmla="*/ 477 w 478"/>
                  <a:gd name="T37" fmla="*/ 138 h 434"/>
                  <a:gd name="T38" fmla="*/ 477 w 478"/>
                  <a:gd name="T39" fmla="*/ 128 h 434"/>
                  <a:gd name="T40" fmla="*/ 330 w 478"/>
                  <a:gd name="T41" fmla="*/ 2 h 434"/>
                  <a:gd name="T42" fmla="*/ 324 w 478"/>
                  <a:gd name="T43" fmla="*/ 0 h 434"/>
                  <a:gd name="T44" fmla="*/ 317 w 478"/>
                  <a:gd name="T45" fmla="*/ 1 h 434"/>
                  <a:gd name="T46" fmla="*/ 312 w 478"/>
                  <a:gd name="T47" fmla="*/ 6 h 434"/>
                  <a:gd name="T48" fmla="*/ 310 w 478"/>
                  <a:gd name="T49" fmla="*/ 12 h 434"/>
                  <a:gd name="T50" fmla="*/ 283 w 478"/>
                  <a:gd name="T51" fmla="*/ 62 h 434"/>
                  <a:gd name="T52" fmla="*/ 233 w 478"/>
                  <a:gd name="T53" fmla="*/ 71 h 434"/>
                  <a:gd name="T54" fmla="*/ 190 w 478"/>
                  <a:gd name="T55" fmla="*/ 87 h 434"/>
                  <a:gd name="T56" fmla="*/ 152 w 478"/>
                  <a:gd name="T57" fmla="*/ 107 h 434"/>
                  <a:gd name="T58" fmla="*/ 120 w 478"/>
                  <a:gd name="T59" fmla="*/ 133 h 434"/>
                  <a:gd name="T60" fmla="*/ 93 w 478"/>
                  <a:gd name="T61" fmla="*/ 161 h 434"/>
                  <a:gd name="T62" fmla="*/ 70 w 478"/>
                  <a:gd name="T63" fmla="*/ 193 h 434"/>
                  <a:gd name="T64" fmla="*/ 50 w 478"/>
                  <a:gd name="T65" fmla="*/ 226 h 434"/>
                  <a:gd name="T66" fmla="*/ 30 w 478"/>
                  <a:gd name="T67" fmla="*/ 276 h 434"/>
                  <a:gd name="T68" fmla="*/ 12 w 478"/>
                  <a:gd name="T69" fmla="*/ 337 h 434"/>
                  <a:gd name="T70" fmla="*/ 0 w 478"/>
                  <a:gd name="T71" fmla="*/ 404 h 434"/>
                  <a:gd name="T72" fmla="*/ 0 w 478"/>
                  <a:gd name="T73" fmla="*/ 425 h 434"/>
                  <a:gd name="T74" fmla="*/ 5 w 478"/>
                  <a:gd name="T75" fmla="*/ 43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8" h="434">
                    <a:moveTo>
                      <a:pt x="11" y="432"/>
                    </a:moveTo>
                    <a:lnTo>
                      <a:pt x="11" y="434"/>
                    </a:lnTo>
                    <a:lnTo>
                      <a:pt x="12" y="434"/>
                    </a:lnTo>
                    <a:lnTo>
                      <a:pt x="16" y="432"/>
                    </a:lnTo>
                    <a:lnTo>
                      <a:pt x="20" y="431"/>
                    </a:lnTo>
                    <a:lnTo>
                      <a:pt x="22" y="427"/>
                    </a:lnTo>
                    <a:lnTo>
                      <a:pt x="23" y="423"/>
                    </a:lnTo>
                    <a:lnTo>
                      <a:pt x="26" y="414"/>
                    </a:lnTo>
                    <a:lnTo>
                      <a:pt x="35" y="390"/>
                    </a:lnTo>
                    <a:lnTo>
                      <a:pt x="43" y="373"/>
                    </a:lnTo>
                    <a:lnTo>
                      <a:pt x="53" y="355"/>
                    </a:lnTo>
                    <a:lnTo>
                      <a:pt x="64" y="336"/>
                    </a:lnTo>
                    <a:lnTo>
                      <a:pt x="79" y="315"/>
                    </a:lnTo>
                    <a:lnTo>
                      <a:pt x="97" y="296"/>
                    </a:lnTo>
                    <a:lnTo>
                      <a:pt x="116" y="276"/>
                    </a:lnTo>
                    <a:lnTo>
                      <a:pt x="127" y="267"/>
                    </a:lnTo>
                    <a:lnTo>
                      <a:pt x="139" y="258"/>
                    </a:lnTo>
                    <a:lnTo>
                      <a:pt x="153" y="250"/>
                    </a:lnTo>
                    <a:lnTo>
                      <a:pt x="166" y="241"/>
                    </a:lnTo>
                    <a:lnTo>
                      <a:pt x="181" y="233"/>
                    </a:lnTo>
                    <a:lnTo>
                      <a:pt x="197" y="227"/>
                    </a:lnTo>
                    <a:lnTo>
                      <a:pt x="213" y="220"/>
                    </a:lnTo>
                    <a:lnTo>
                      <a:pt x="230" y="215"/>
                    </a:lnTo>
                    <a:lnTo>
                      <a:pt x="248" y="211"/>
                    </a:lnTo>
                    <a:lnTo>
                      <a:pt x="269" y="208"/>
                    </a:lnTo>
                    <a:lnTo>
                      <a:pt x="288" y="205"/>
                    </a:lnTo>
                    <a:lnTo>
                      <a:pt x="310" y="204"/>
                    </a:lnTo>
                    <a:lnTo>
                      <a:pt x="310" y="253"/>
                    </a:lnTo>
                    <a:lnTo>
                      <a:pt x="311" y="255"/>
                    </a:lnTo>
                    <a:lnTo>
                      <a:pt x="312" y="259"/>
                    </a:lnTo>
                    <a:lnTo>
                      <a:pt x="314" y="262"/>
                    </a:lnTo>
                    <a:lnTo>
                      <a:pt x="317" y="263"/>
                    </a:lnTo>
                    <a:lnTo>
                      <a:pt x="320" y="264"/>
                    </a:lnTo>
                    <a:lnTo>
                      <a:pt x="324" y="264"/>
                    </a:lnTo>
                    <a:lnTo>
                      <a:pt x="326" y="263"/>
                    </a:lnTo>
                    <a:lnTo>
                      <a:pt x="330" y="262"/>
                    </a:lnTo>
                    <a:lnTo>
                      <a:pt x="474" y="142"/>
                    </a:lnTo>
                    <a:lnTo>
                      <a:pt x="477" y="138"/>
                    </a:lnTo>
                    <a:lnTo>
                      <a:pt x="478" y="133"/>
                    </a:lnTo>
                    <a:lnTo>
                      <a:pt x="477" y="128"/>
                    </a:lnTo>
                    <a:lnTo>
                      <a:pt x="474" y="124"/>
                    </a:lnTo>
                    <a:lnTo>
                      <a:pt x="330" y="2"/>
                    </a:lnTo>
                    <a:lnTo>
                      <a:pt x="326" y="1"/>
                    </a:lnTo>
                    <a:lnTo>
                      <a:pt x="324" y="0"/>
                    </a:lnTo>
                    <a:lnTo>
                      <a:pt x="320" y="0"/>
                    </a:lnTo>
                    <a:lnTo>
                      <a:pt x="317" y="1"/>
                    </a:lnTo>
                    <a:lnTo>
                      <a:pt x="314" y="3"/>
                    </a:lnTo>
                    <a:lnTo>
                      <a:pt x="312" y="6"/>
                    </a:lnTo>
                    <a:lnTo>
                      <a:pt x="311" y="9"/>
                    </a:lnTo>
                    <a:lnTo>
                      <a:pt x="310" y="12"/>
                    </a:lnTo>
                    <a:lnTo>
                      <a:pt x="310" y="60"/>
                    </a:lnTo>
                    <a:lnTo>
                      <a:pt x="283" y="62"/>
                    </a:lnTo>
                    <a:lnTo>
                      <a:pt x="257" y="65"/>
                    </a:lnTo>
                    <a:lnTo>
                      <a:pt x="233" y="71"/>
                    </a:lnTo>
                    <a:lnTo>
                      <a:pt x="211" y="78"/>
                    </a:lnTo>
                    <a:lnTo>
                      <a:pt x="190" y="87"/>
                    </a:lnTo>
                    <a:lnTo>
                      <a:pt x="170" y="96"/>
                    </a:lnTo>
                    <a:lnTo>
                      <a:pt x="152" y="107"/>
                    </a:lnTo>
                    <a:lnTo>
                      <a:pt x="135" y="120"/>
                    </a:lnTo>
                    <a:lnTo>
                      <a:pt x="120" y="133"/>
                    </a:lnTo>
                    <a:lnTo>
                      <a:pt x="106" y="147"/>
                    </a:lnTo>
                    <a:lnTo>
                      <a:pt x="93" y="161"/>
                    </a:lnTo>
                    <a:lnTo>
                      <a:pt x="80" y="177"/>
                    </a:lnTo>
                    <a:lnTo>
                      <a:pt x="70" y="193"/>
                    </a:lnTo>
                    <a:lnTo>
                      <a:pt x="59" y="209"/>
                    </a:lnTo>
                    <a:lnTo>
                      <a:pt x="50" y="226"/>
                    </a:lnTo>
                    <a:lnTo>
                      <a:pt x="43" y="242"/>
                    </a:lnTo>
                    <a:lnTo>
                      <a:pt x="30" y="276"/>
                    </a:lnTo>
                    <a:lnTo>
                      <a:pt x="20" y="308"/>
                    </a:lnTo>
                    <a:lnTo>
                      <a:pt x="12" y="337"/>
                    </a:lnTo>
                    <a:lnTo>
                      <a:pt x="7" y="364"/>
                    </a:lnTo>
                    <a:lnTo>
                      <a:pt x="0" y="404"/>
                    </a:lnTo>
                    <a:lnTo>
                      <a:pt x="0" y="421"/>
                    </a:lnTo>
                    <a:lnTo>
                      <a:pt x="0" y="425"/>
                    </a:lnTo>
                    <a:lnTo>
                      <a:pt x="3" y="428"/>
                    </a:lnTo>
                    <a:lnTo>
                      <a:pt x="5" y="431"/>
                    </a:lnTo>
                    <a:lnTo>
                      <a:pt x="11"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51" name="Group 50">
              <a:extLst>
                <a:ext uri="{FF2B5EF4-FFF2-40B4-BE49-F238E27FC236}">
                  <a16:creationId xmlns:a16="http://schemas.microsoft.com/office/drawing/2014/main" xmlns="" id="{5DECB9C7-54E0-4C65-BD74-33AEF6954B01}"/>
                </a:ext>
              </a:extLst>
            </p:cNvPr>
            <p:cNvGrpSpPr/>
            <p:nvPr/>
          </p:nvGrpSpPr>
          <p:grpSpPr>
            <a:xfrm>
              <a:off x="4092684" y="5219822"/>
              <a:ext cx="278001" cy="320770"/>
              <a:chOff x="10475913" y="771525"/>
              <a:chExt cx="247650" cy="285750"/>
            </a:xfrm>
            <a:solidFill>
              <a:sysClr val="window" lastClr="FFFFFF"/>
            </a:solidFill>
          </p:grpSpPr>
          <p:sp>
            <p:nvSpPr>
              <p:cNvPr id="52" name="Freeform 3569">
                <a:extLst>
                  <a:ext uri="{FF2B5EF4-FFF2-40B4-BE49-F238E27FC236}">
                    <a16:creationId xmlns:a16="http://schemas.microsoft.com/office/drawing/2014/main" xmlns="" id="{21CA4454-4E70-4B5D-8D15-CFA506C7D799}"/>
                  </a:ext>
                </a:extLst>
              </p:cNvPr>
              <p:cNvSpPr>
                <a:spLocks/>
              </p:cNvSpPr>
              <p:nvPr/>
            </p:nvSpPr>
            <p:spPr bwMode="auto">
              <a:xfrm>
                <a:off x="10475913" y="847725"/>
                <a:ext cx="247650" cy="209550"/>
              </a:xfrm>
              <a:custGeom>
                <a:avLst/>
                <a:gdLst>
                  <a:gd name="T0" fmla="*/ 625 w 625"/>
                  <a:gd name="T1" fmla="*/ 59 h 528"/>
                  <a:gd name="T2" fmla="*/ 625 w 625"/>
                  <a:gd name="T3" fmla="*/ 59 h 528"/>
                  <a:gd name="T4" fmla="*/ 625 w 625"/>
                  <a:gd name="T5" fmla="*/ 59 h 528"/>
                  <a:gd name="T6" fmla="*/ 624 w 625"/>
                  <a:gd name="T7" fmla="*/ 58 h 528"/>
                  <a:gd name="T8" fmla="*/ 624 w 625"/>
                  <a:gd name="T9" fmla="*/ 56 h 528"/>
                  <a:gd name="T10" fmla="*/ 624 w 625"/>
                  <a:gd name="T11" fmla="*/ 56 h 528"/>
                  <a:gd name="T12" fmla="*/ 624 w 625"/>
                  <a:gd name="T13" fmla="*/ 56 h 528"/>
                  <a:gd name="T14" fmla="*/ 623 w 625"/>
                  <a:gd name="T15" fmla="*/ 53 h 528"/>
                  <a:gd name="T16" fmla="*/ 621 w 625"/>
                  <a:gd name="T17" fmla="*/ 52 h 528"/>
                  <a:gd name="T18" fmla="*/ 621 w 625"/>
                  <a:gd name="T19" fmla="*/ 52 h 528"/>
                  <a:gd name="T20" fmla="*/ 621 w 625"/>
                  <a:gd name="T21" fmla="*/ 52 h 528"/>
                  <a:gd name="T22" fmla="*/ 620 w 625"/>
                  <a:gd name="T23" fmla="*/ 50 h 528"/>
                  <a:gd name="T24" fmla="*/ 620 w 625"/>
                  <a:gd name="T25" fmla="*/ 50 h 528"/>
                  <a:gd name="T26" fmla="*/ 619 w 625"/>
                  <a:gd name="T27" fmla="*/ 49 h 528"/>
                  <a:gd name="T28" fmla="*/ 617 w 625"/>
                  <a:gd name="T29" fmla="*/ 49 h 528"/>
                  <a:gd name="T30" fmla="*/ 617 w 625"/>
                  <a:gd name="T31" fmla="*/ 49 h 528"/>
                  <a:gd name="T32" fmla="*/ 617 w 625"/>
                  <a:gd name="T33" fmla="*/ 49 h 528"/>
                  <a:gd name="T34" fmla="*/ 497 w 625"/>
                  <a:gd name="T35" fmla="*/ 0 h 528"/>
                  <a:gd name="T36" fmla="*/ 493 w 625"/>
                  <a:gd name="T37" fmla="*/ 0 h 528"/>
                  <a:gd name="T38" fmla="*/ 488 w 625"/>
                  <a:gd name="T39" fmla="*/ 0 h 528"/>
                  <a:gd name="T40" fmla="*/ 484 w 625"/>
                  <a:gd name="T41" fmla="*/ 3 h 528"/>
                  <a:gd name="T42" fmla="*/ 481 w 625"/>
                  <a:gd name="T43" fmla="*/ 8 h 528"/>
                  <a:gd name="T44" fmla="*/ 480 w 625"/>
                  <a:gd name="T45" fmla="*/ 12 h 528"/>
                  <a:gd name="T46" fmla="*/ 481 w 625"/>
                  <a:gd name="T47" fmla="*/ 17 h 528"/>
                  <a:gd name="T48" fmla="*/ 484 w 625"/>
                  <a:gd name="T49" fmla="*/ 21 h 528"/>
                  <a:gd name="T50" fmla="*/ 488 w 625"/>
                  <a:gd name="T51" fmla="*/ 24 h 528"/>
                  <a:gd name="T52" fmla="*/ 580 w 625"/>
                  <a:gd name="T53" fmla="*/ 59 h 528"/>
                  <a:gd name="T54" fmla="*/ 300 w 625"/>
                  <a:gd name="T55" fmla="*/ 167 h 528"/>
                  <a:gd name="T56" fmla="*/ 39 w 625"/>
                  <a:gd name="T57" fmla="*/ 61 h 528"/>
                  <a:gd name="T58" fmla="*/ 124 w 625"/>
                  <a:gd name="T59" fmla="*/ 24 h 528"/>
                  <a:gd name="T60" fmla="*/ 128 w 625"/>
                  <a:gd name="T61" fmla="*/ 20 h 528"/>
                  <a:gd name="T62" fmla="*/ 131 w 625"/>
                  <a:gd name="T63" fmla="*/ 16 h 528"/>
                  <a:gd name="T64" fmla="*/ 132 w 625"/>
                  <a:gd name="T65" fmla="*/ 12 h 528"/>
                  <a:gd name="T66" fmla="*/ 131 w 625"/>
                  <a:gd name="T67" fmla="*/ 7 h 528"/>
                  <a:gd name="T68" fmla="*/ 128 w 625"/>
                  <a:gd name="T69" fmla="*/ 3 h 528"/>
                  <a:gd name="T70" fmla="*/ 124 w 625"/>
                  <a:gd name="T71" fmla="*/ 0 h 528"/>
                  <a:gd name="T72" fmla="*/ 119 w 625"/>
                  <a:gd name="T73" fmla="*/ 0 h 528"/>
                  <a:gd name="T74" fmla="*/ 115 w 625"/>
                  <a:gd name="T75" fmla="*/ 0 h 528"/>
                  <a:gd name="T76" fmla="*/ 7 w 625"/>
                  <a:gd name="T77" fmla="*/ 49 h 528"/>
                  <a:gd name="T78" fmla="*/ 4 w 625"/>
                  <a:gd name="T79" fmla="*/ 52 h 528"/>
                  <a:gd name="T80" fmla="*/ 1 w 625"/>
                  <a:gd name="T81" fmla="*/ 54 h 528"/>
                  <a:gd name="T82" fmla="*/ 0 w 625"/>
                  <a:gd name="T83" fmla="*/ 57 h 528"/>
                  <a:gd name="T84" fmla="*/ 0 w 625"/>
                  <a:gd name="T85" fmla="*/ 61 h 528"/>
                  <a:gd name="T86" fmla="*/ 0 w 625"/>
                  <a:gd name="T87" fmla="*/ 62 h 528"/>
                  <a:gd name="T88" fmla="*/ 0 w 625"/>
                  <a:gd name="T89" fmla="*/ 62 h 528"/>
                  <a:gd name="T90" fmla="*/ 0 w 625"/>
                  <a:gd name="T91" fmla="*/ 360 h 528"/>
                  <a:gd name="T92" fmla="*/ 0 w 625"/>
                  <a:gd name="T93" fmla="*/ 364 h 528"/>
                  <a:gd name="T94" fmla="*/ 1 w 625"/>
                  <a:gd name="T95" fmla="*/ 366 h 528"/>
                  <a:gd name="T96" fmla="*/ 4 w 625"/>
                  <a:gd name="T97" fmla="*/ 369 h 528"/>
                  <a:gd name="T98" fmla="*/ 6 w 625"/>
                  <a:gd name="T99" fmla="*/ 372 h 528"/>
                  <a:gd name="T100" fmla="*/ 295 w 625"/>
                  <a:gd name="T101" fmla="*/ 527 h 528"/>
                  <a:gd name="T102" fmla="*/ 298 w 625"/>
                  <a:gd name="T103" fmla="*/ 528 h 528"/>
                  <a:gd name="T104" fmla="*/ 300 w 625"/>
                  <a:gd name="T105" fmla="*/ 528 h 528"/>
                  <a:gd name="T106" fmla="*/ 303 w 625"/>
                  <a:gd name="T107" fmla="*/ 528 h 528"/>
                  <a:gd name="T108" fmla="*/ 305 w 625"/>
                  <a:gd name="T109" fmla="*/ 527 h 528"/>
                  <a:gd name="T110" fmla="*/ 617 w 625"/>
                  <a:gd name="T111" fmla="*/ 372 h 528"/>
                  <a:gd name="T112" fmla="*/ 621 w 625"/>
                  <a:gd name="T113" fmla="*/ 369 h 528"/>
                  <a:gd name="T114" fmla="*/ 623 w 625"/>
                  <a:gd name="T115" fmla="*/ 366 h 528"/>
                  <a:gd name="T116" fmla="*/ 624 w 625"/>
                  <a:gd name="T117" fmla="*/ 364 h 528"/>
                  <a:gd name="T118" fmla="*/ 625 w 625"/>
                  <a:gd name="T119" fmla="*/ 360 h 528"/>
                  <a:gd name="T120" fmla="*/ 625 w 625"/>
                  <a:gd name="T121" fmla="*/ 59 h 528"/>
                  <a:gd name="T122" fmla="*/ 625 w 625"/>
                  <a:gd name="T123" fmla="*/ 59 h 528"/>
                  <a:gd name="T124" fmla="*/ 625 w 625"/>
                  <a:gd name="T125" fmla="*/ 5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528">
                    <a:moveTo>
                      <a:pt x="625" y="59"/>
                    </a:moveTo>
                    <a:lnTo>
                      <a:pt x="625" y="59"/>
                    </a:lnTo>
                    <a:lnTo>
                      <a:pt x="625" y="59"/>
                    </a:lnTo>
                    <a:lnTo>
                      <a:pt x="624" y="58"/>
                    </a:lnTo>
                    <a:lnTo>
                      <a:pt x="624" y="56"/>
                    </a:lnTo>
                    <a:lnTo>
                      <a:pt x="624" y="56"/>
                    </a:lnTo>
                    <a:lnTo>
                      <a:pt x="624" y="56"/>
                    </a:lnTo>
                    <a:lnTo>
                      <a:pt x="623" y="53"/>
                    </a:lnTo>
                    <a:lnTo>
                      <a:pt x="621" y="52"/>
                    </a:lnTo>
                    <a:lnTo>
                      <a:pt x="621" y="52"/>
                    </a:lnTo>
                    <a:lnTo>
                      <a:pt x="621" y="52"/>
                    </a:lnTo>
                    <a:lnTo>
                      <a:pt x="620" y="50"/>
                    </a:lnTo>
                    <a:lnTo>
                      <a:pt x="620" y="50"/>
                    </a:lnTo>
                    <a:lnTo>
                      <a:pt x="619" y="49"/>
                    </a:lnTo>
                    <a:lnTo>
                      <a:pt x="617" y="49"/>
                    </a:lnTo>
                    <a:lnTo>
                      <a:pt x="617" y="49"/>
                    </a:lnTo>
                    <a:lnTo>
                      <a:pt x="617" y="49"/>
                    </a:lnTo>
                    <a:lnTo>
                      <a:pt x="497" y="0"/>
                    </a:lnTo>
                    <a:lnTo>
                      <a:pt x="493" y="0"/>
                    </a:lnTo>
                    <a:lnTo>
                      <a:pt x="488" y="0"/>
                    </a:lnTo>
                    <a:lnTo>
                      <a:pt x="484" y="3"/>
                    </a:lnTo>
                    <a:lnTo>
                      <a:pt x="481" y="8"/>
                    </a:lnTo>
                    <a:lnTo>
                      <a:pt x="480" y="12"/>
                    </a:lnTo>
                    <a:lnTo>
                      <a:pt x="481" y="17"/>
                    </a:lnTo>
                    <a:lnTo>
                      <a:pt x="484" y="21"/>
                    </a:lnTo>
                    <a:lnTo>
                      <a:pt x="488" y="24"/>
                    </a:lnTo>
                    <a:lnTo>
                      <a:pt x="580" y="59"/>
                    </a:lnTo>
                    <a:lnTo>
                      <a:pt x="300" y="167"/>
                    </a:lnTo>
                    <a:lnTo>
                      <a:pt x="39" y="61"/>
                    </a:lnTo>
                    <a:lnTo>
                      <a:pt x="124" y="24"/>
                    </a:lnTo>
                    <a:lnTo>
                      <a:pt x="128" y="20"/>
                    </a:lnTo>
                    <a:lnTo>
                      <a:pt x="131" y="16"/>
                    </a:lnTo>
                    <a:lnTo>
                      <a:pt x="132" y="12"/>
                    </a:lnTo>
                    <a:lnTo>
                      <a:pt x="131" y="7"/>
                    </a:lnTo>
                    <a:lnTo>
                      <a:pt x="128" y="3"/>
                    </a:lnTo>
                    <a:lnTo>
                      <a:pt x="124" y="0"/>
                    </a:lnTo>
                    <a:lnTo>
                      <a:pt x="119" y="0"/>
                    </a:lnTo>
                    <a:lnTo>
                      <a:pt x="115" y="0"/>
                    </a:lnTo>
                    <a:lnTo>
                      <a:pt x="7" y="49"/>
                    </a:lnTo>
                    <a:lnTo>
                      <a:pt x="4" y="52"/>
                    </a:lnTo>
                    <a:lnTo>
                      <a:pt x="1" y="54"/>
                    </a:lnTo>
                    <a:lnTo>
                      <a:pt x="0" y="57"/>
                    </a:lnTo>
                    <a:lnTo>
                      <a:pt x="0" y="61"/>
                    </a:lnTo>
                    <a:lnTo>
                      <a:pt x="0" y="62"/>
                    </a:lnTo>
                    <a:lnTo>
                      <a:pt x="0" y="62"/>
                    </a:lnTo>
                    <a:lnTo>
                      <a:pt x="0" y="360"/>
                    </a:lnTo>
                    <a:lnTo>
                      <a:pt x="0" y="364"/>
                    </a:lnTo>
                    <a:lnTo>
                      <a:pt x="1" y="366"/>
                    </a:lnTo>
                    <a:lnTo>
                      <a:pt x="4" y="369"/>
                    </a:lnTo>
                    <a:lnTo>
                      <a:pt x="6" y="372"/>
                    </a:lnTo>
                    <a:lnTo>
                      <a:pt x="295" y="527"/>
                    </a:lnTo>
                    <a:lnTo>
                      <a:pt x="298" y="528"/>
                    </a:lnTo>
                    <a:lnTo>
                      <a:pt x="300" y="528"/>
                    </a:lnTo>
                    <a:lnTo>
                      <a:pt x="303" y="528"/>
                    </a:lnTo>
                    <a:lnTo>
                      <a:pt x="305" y="527"/>
                    </a:lnTo>
                    <a:lnTo>
                      <a:pt x="617" y="372"/>
                    </a:lnTo>
                    <a:lnTo>
                      <a:pt x="621" y="369"/>
                    </a:lnTo>
                    <a:lnTo>
                      <a:pt x="623" y="366"/>
                    </a:lnTo>
                    <a:lnTo>
                      <a:pt x="624" y="364"/>
                    </a:lnTo>
                    <a:lnTo>
                      <a:pt x="625" y="360"/>
                    </a:lnTo>
                    <a:lnTo>
                      <a:pt x="625" y="59"/>
                    </a:lnTo>
                    <a:lnTo>
                      <a:pt x="625" y="59"/>
                    </a:lnTo>
                    <a:lnTo>
                      <a:pt x="62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3" name="Freeform 3570">
                <a:extLst>
                  <a:ext uri="{FF2B5EF4-FFF2-40B4-BE49-F238E27FC236}">
                    <a16:creationId xmlns:a16="http://schemas.microsoft.com/office/drawing/2014/main" xmlns="" id="{6F233865-F8B6-4B73-9DB5-C6B941951A49}"/>
                  </a:ext>
                </a:extLst>
              </p:cNvPr>
              <p:cNvSpPr>
                <a:spLocks/>
              </p:cNvSpPr>
              <p:nvPr/>
            </p:nvSpPr>
            <p:spPr bwMode="auto">
              <a:xfrm>
                <a:off x="10542588" y="771525"/>
                <a:ext cx="106362" cy="104775"/>
              </a:xfrm>
              <a:custGeom>
                <a:avLst/>
                <a:gdLst>
                  <a:gd name="T0" fmla="*/ 124 w 267"/>
                  <a:gd name="T1" fmla="*/ 263 h 266"/>
                  <a:gd name="T2" fmla="*/ 128 w 267"/>
                  <a:gd name="T3" fmla="*/ 266 h 266"/>
                  <a:gd name="T4" fmla="*/ 133 w 267"/>
                  <a:gd name="T5" fmla="*/ 266 h 266"/>
                  <a:gd name="T6" fmla="*/ 137 w 267"/>
                  <a:gd name="T7" fmla="*/ 266 h 266"/>
                  <a:gd name="T8" fmla="*/ 141 w 267"/>
                  <a:gd name="T9" fmla="*/ 263 h 266"/>
                  <a:gd name="T10" fmla="*/ 263 w 267"/>
                  <a:gd name="T11" fmla="*/ 141 h 266"/>
                  <a:gd name="T12" fmla="*/ 266 w 267"/>
                  <a:gd name="T13" fmla="*/ 137 h 266"/>
                  <a:gd name="T14" fmla="*/ 267 w 267"/>
                  <a:gd name="T15" fmla="*/ 133 h 266"/>
                  <a:gd name="T16" fmla="*/ 266 w 267"/>
                  <a:gd name="T17" fmla="*/ 128 h 266"/>
                  <a:gd name="T18" fmla="*/ 263 w 267"/>
                  <a:gd name="T19" fmla="*/ 124 h 266"/>
                  <a:gd name="T20" fmla="*/ 259 w 267"/>
                  <a:gd name="T21" fmla="*/ 122 h 266"/>
                  <a:gd name="T22" fmla="*/ 254 w 267"/>
                  <a:gd name="T23" fmla="*/ 120 h 266"/>
                  <a:gd name="T24" fmla="*/ 250 w 267"/>
                  <a:gd name="T25" fmla="*/ 122 h 266"/>
                  <a:gd name="T26" fmla="*/ 246 w 267"/>
                  <a:gd name="T27" fmla="*/ 124 h 266"/>
                  <a:gd name="T28" fmla="*/ 144 w 267"/>
                  <a:gd name="T29" fmla="*/ 226 h 266"/>
                  <a:gd name="T30" fmla="*/ 144 w 267"/>
                  <a:gd name="T31" fmla="*/ 11 h 266"/>
                  <a:gd name="T32" fmla="*/ 144 w 267"/>
                  <a:gd name="T33" fmla="*/ 7 h 266"/>
                  <a:gd name="T34" fmla="*/ 141 w 267"/>
                  <a:gd name="T35" fmla="*/ 4 h 266"/>
                  <a:gd name="T36" fmla="*/ 137 w 267"/>
                  <a:gd name="T37" fmla="*/ 1 h 266"/>
                  <a:gd name="T38" fmla="*/ 132 w 267"/>
                  <a:gd name="T39" fmla="*/ 0 h 266"/>
                  <a:gd name="T40" fmla="*/ 127 w 267"/>
                  <a:gd name="T41" fmla="*/ 1 h 266"/>
                  <a:gd name="T42" fmla="*/ 123 w 267"/>
                  <a:gd name="T43" fmla="*/ 4 h 266"/>
                  <a:gd name="T44" fmla="*/ 121 w 267"/>
                  <a:gd name="T45" fmla="*/ 7 h 266"/>
                  <a:gd name="T46" fmla="*/ 121 w 267"/>
                  <a:gd name="T47" fmla="*/ 11 h 266"/>
                  <a:gd name="T48" fmla="*/ 121 w 267"/>
                  <a:gd name="T49" fmla="*/ 225 h 266"/>
                  <a:gd name="T50" fmla="*/ 20 w 267"/>
                  <a:gd name="T51" fmla="*/ 124 h 266"/>
                  <a:gd name="T52" fmla="*/ 17 w 267"/>
                  <a:gd name="T53" fmla="*/ 122 h 266"/>
                  <a:gd name="T54" fmla="*/ 11 w 267"/>
                  <a:gd name="T55" fmla="*/ 120 h 266"/>
                  <a:gd name="T56" fmla="*/ 8 w 267"/>
                  <a:gd name="T57" fmla="*/ 122 h 266"/>
                  <a:gd name="T58" fmla="*/ 4 w 267"/>
                  <a:gd name="T59" fmla="*/ 124 h 266"/>
                  <a:gd name="T60" fmla="*/ 1 w 267"/>
                  <a:gd name="T61" fmla="*/ 128 h 266"/>
                  <a:gd name="T62" fmla="*/ 0 w 267"/>
                  <a:gd name="T63" fmla="*/ 133 h 266"/>
                  <a:gd name="T64" fmla="*/ 1 w 267"/>
                  <a:gd name="T65" fmla="*/ 137 h 266"/>
                  <a:gd name="T66" fmla="*/ 4 w 267"/>
                  <a:gd name="T67" fmla="*/ 141 h 266"/>
                  <a:gd name="T68" fmla="*/ 124 w 267"/>
                  <a:gd name="T6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6">
                    <a:moveTo>
                      <a:pt x="124" y="263"/>
                    </a:moveTo>
                    <a:lnTo>
                      <a:pt x="128" y="266"/>
                    </a:lnTo>
                    <a:lnTo>
                      <a:pt x="133" y="266"/>
                    </a:lnTo>
                    <a:lnTo>
                      <a:pt x="137" y="266"/>
                    </a:lnTo>
                    <a:lnTo>
                      <a:pt x="141" y="263"/>
                    </a:lnTo>
                    <a:lnTo>
                      <a:pt x="263" y="141"/>
                    </a:lnTo>
                    <a:lnTo>
                      <a:pt x="266" y="137"/>
                    </a:lnTo>
                    <a:lnTo>
                      <a:pt x="267" y="133"/>
                    </a:lnTo>
                    <a:lnTo>
                      <a:pt x="266" y="128"/>
                    </a:lnTo>
                    <a:lnTo>
                      <a:pt x="263" y="124"/>
                    </a:lnTo>
                    <a:lnTo>
                      <a:pt x="259" y="122"/>
                    </a:lnTo>
                    <a:lnTo>
                      <a:pt x="254" y="120"/>
                    </a:lnTo>
                    <a:lnTo>
                      <a:pt x="250" y="122"/>
                    </a:lnTo>
                    <a:lnTo>
                      <a:pt x="246" y="124"/>
                    </a:lnTo>
                    <a:lnTo>
                      <a:pt x="144" y="226"/>
                    </a:lnTo>
                    <a:lnTo>
                      <a:pt x="144" y="11"/>
                    </a:lnTo>
                    <a:lnTo>
                      <a:pt x="144" y="7"/>
                    </a:lnTo>
                    <a:lnTo>
                      <a:pt x="141" y="4"/>
                    </a:lnTo>
                    <a:lnTo>
                      <a:pt x="137" y="1"/>
                    </a:lnTo>
                    <a:lnTo>
                      <a:pt x="132" y="0"/>
                    </a:lnTo>
                    <a:lnTo>
                      <a:pt x="127" y="1"/>
                    </a:lnTo>
                    <a:lnTo>
                      <a:pt x="123" y="4"/>
                    </a:lnTo>
                    <a:lnTo>
                      <a:pt x="121" y="7"/>
                    </a:lnTo>
                    <a:lnTo>
                      <a:pt x="121" y="11"/>
                    </a:lnTo>
                    <a:lnTo>
                      <a:pt x="121" y="225"/>
                    </a:lnTo>
                    <a:lnTo>
                      <a:pt x="20" y="124"/>
                    </a:lnTo>
                    <a:lnTo>
                      <a:pt x="17" y="122"/>
                    </a:lnTo>
                    <a:lnTo>
                      <a:pt x="11" y="120"/>
                    </a:lnTo>
                    <a:lnTo>
                      <a:pt x="8" y="122"/>
                    </a:lnTo>
                    <a:lnTo>
                      <a:pt x="4" y="124"/>
                    </a:lnTo>
                    <a:lnTo>
                      <a:pt x="1" y="128"/>
                    </a:lnTo>
                    <a:lnTo>
                      <a:pt x="0" y="133"/>
                    </a:lnTo>
                    <a:lnTo>
                      <a:pt x="1" y="137"/>
                    </a:lnTo>
                    <a:lnTo>
                      <a:pt x="4" y="141"/>
                    </a:lnTo>
                    <a:lnTo>
                      <a:pt x="12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sp>
          <p:nvSpPr>
            <p:cNvPr id="2" name="TextBox 1"/>
            <p:cNvSpPr txBox="1"/>
            <p:nvPr/>
          </p:nvSpPr>
          <p:spPr>
            <a:xfrm>
              <a:off x="5680661" y="3071077"/>
              <a:ext cx="891348" cy="875180"/>
            </a:xfrm>
            <a:prstGeom prst="rect">
              <a:avLst/>
            </a:prstGeom>
            <a:noFill/>
          </p:spPr>
          <p:txBody>
            <a:bodyPr wrap="square" rtlCol="0">
              <a:spAutoFit/>
            </a:bodyPr>
            <a:lstStyle/>
            <a:p>
              <a:pPr algn="ctr"/>
              <a:r>
                <a:rPr lang="en-ZA" sz="1400" dirty="0"/>
                <a:t>1. </a:t>
              </a:r>
            </a:p>
            <a:p>
              <a:pPr algn="ctr"/>
              <a:r>
                <a:rPr lang="en-ZA" sz="1400" dirty="0"/>
                <a:t>Improved safety and security</a:t>
              </a:r>
            </a:p>
          </p:txBody>
        </p:sp>
        <p:sp>
          <p:nvSpPr>
            <p:cNvPr id="54" name="TextBox 53"/>
            <p:cNvSpPr txBox="1"/>
            <p:nvPr/>
          </p:nvSpPr>
          <p:spPr>
            <a:xfrm>
              <a:off x="4648121" y="3619192"/>
              <a:ext cx="1047213" cy="677559"/>
            </a:xfrm>
            <a:prstGeom prst="rect">
              <a:avLst/>
            </a:prstGeom>
            <a:noFill/>
          </p:spPr>
          <p:txBody>
            <a:bodyPr wrap="square" rtlCol="0">
              <a:spAutoFit/>
            </a:bodyPr>
            <a:lstStyle/>
            <a:p>
              <a:pPr algn="ctr"/>
              <a:r>
                <a:rPr lang="en-ZA" sz="1400" dirty="0"/>
                <a:t>2</a:t>
              </a:r>
              <a:r>
                <a:rPr lang="en-ZA" sz="1400" dirty="0" smtClean="0"/>
                <a:t>. Improved case management</a:t>
              </a:r>
              <a:endParaRPr lang="en-ZA" sz="1400" dirty="0"/>
            </a:p>
          </p:txBody>
        </p:sp>
        <p:sp>
          <p:nvSpPr>
            <p:cNvPr id="55" name="TextBox 54"/>
            <p:cNvSpPr txBox="1"/>
            <p:nvPr/>
          </p:nvSpPr>
          <p:spPr>
            <a:xfrm>
              <a:off x="4622831" y="4404937"/>
              <a:ext cx="1140469" cy="875180"/>
            </a:xfrm>
            <a:prstGeom prst="rect">
              <a:avLst/>
            </a:prstGeom>
            <a:noFill/>
          </p:spPr>
          <p:txBody>
            <a:bodyPr wrap="square" rtlCol="0">
              <a:spAutoFit/>
            </a:bodyPr>
            <a:lstStyle/>
            <a:p>
              <a:pPr algn="ctr"/>
              <a:r>
                <a:rPr lang="en-ZA" sz="1400" dirty="0" smtClean="0"/>
                <a:t>3. </a:t>
              </a:r>
            </a:p>
            <a:p>
              <a:pPr algn="ctr"/>
              <a:r>
                <a:rPr lang="en-ZA" sz="1400" dirty="0" smtClean="0"/>
                <a:t>Increased needs based rehabilitation</a:t>
              </a:r>
              <a:endParaRPr lang="en-ZA" sz="1400" dirty="0"/>
            </a:p>
          </p:txBody>
        </p:sp>
        <p:sp>
          <p:nvSpPr>
            <p:cNvPr id="56" name="TextBox 55"/>
            <p:cNvSpPr txBox="1"/>
            <p:nvPr/>
          </p:nvSpPr>
          <p:spPr>
            <a:xfrm>
              <a:off x="5504422" y="5104321"/>
              <a:ext cx="1199409" cy="677559"/>
            </a:xfrm>
            <a:prstGeom prst="rect">
              <a:avLst/>
            </a:prstGeom>
            <a:noFill/>
          </p:spPr>
          <p:txBody>
            <a:bodyPr wrap="square" rtlCol="0">
              <a:spAutoFit/>
            </a:bodyPr>
            <a:lstStyle/>
            <a:p>
              <a:pPr algn="ctr"/>
              <a:r>
                <a:rPr lang="en-ZA" sz="1400" dirty="0"/>
                <a:t>4. </a:t>
              </a:r>
            </a:p>
            <a:p>
              <a:pPr algn="ctr"/>
              <a:r>
                <a:rPr lang="en-ZA" sz="1400" dirty="0"/>
                <a:t>Successful reintegration</a:t>
              </a:r>
            </a:p>
          </p:txBody>
        </p:sp>
        <p:sp>
          <p:nvSpPr>
            <p:cNvPr id="57" name="TextBox 56"/>
            <p:cNvSpPr txBox="1"/>
            <p:nvPr/>
          </p:nvSpPr>
          <p:spPr>
            <a:xfrm>
              <a:off x="6386564" y="4443398"/>
              <a:ext cx="1240055" cy="875180"/>
            </a:xfrm>
            <a:prstGeom prst="rect">
              <a:avLst/>
            </a:prstGeom>
            <a:noFill/>
          </p:spPr>
          <p:txBody>
            <a:bodyPr wrap="square" rtlCol="0">
              <a:spAutoFit/>
            </a:bodyPr>
            <a:lstStyle/>
            <a:p>
              <a:pPr algn="ctr"/>
              <a:r>
                <a:rPr lang="en-ZA" sz="1400" dirty="0"/>
                <a:t>5. </a:t>
              </a:r>
            </a:p>
            <a:p>
              <a:pPr algn="ctr"/>
              <a:r>
                <a:rPr lang="en-ZA" sz="1400" dirty="0"/>
                <a:t>Healthy</a:t>
              </a:r>
            </a:p>
            <a:p>
              <a:pPr algn="ctr"/>
              <a:r>
                <a:rPr lang="en-ZA" sz="1400" dirty="0"/>
                <a:t>incarcerated population</a:t>
              </a:r>
            </a:p>
          </p:txBody>
        </p:sp>
        <p:sp>
          <p:nvSpPr>
            <p:cNvPr id="58" name="TextBox 57"/>
            <p:cNvSpPr txBox="1"/>
            <p:nvPr/>
          </p:nvSpPr>
          <p:spPr>
            <a:xfrm>
              <a:off x="6514259" y="3142977"/>
              <a:ext cx="1083103" cy="1072801"/>
            </a:xfrm>
            <a:prstGeom prst="rect">
              <a:avLst/>
            </a:prstGeom>
            <a:noFill/>
          </p:spPr>
          <p:txBody>
            <a:bodyPr wrap="square" rtlCol="0">
              <a:spAutoFit/>
            </a:bodyPr>
            <a:lstStyle/>
            <a:p>
              <a:pPr algn="ctr"/>
              <a:r>
                <a:rPr lang="en-ZA" sz="1400" b="1" dirty="0">
                  <a:solidFill>
                    <a:srgbClr val="548235"/>
                  </a:solidFill>
                </a:rPr>
                <a:t>6. </a:t>
              </a:r>
            </a:p>
            <a:p>
              <a:pPr algn="ctr"/>
              <a:r>
                <a:rPr lang="en-ZA" sz="1400" b="1" dirty="0">
                  <a:solidFill>
                    <a:srgbClr val="548235"/>
                  </a:solidFill>
                </a:rPr>
                <a:t>High performing ethical  organisation</a:t>
              </a:r>
            </a:p>
          </p:txBody>
        </p:sp>
      </p:grpSp>
    </p:spTree>
    <p:extLst>
      <p:ext uri="{BB962C8B-B14F-4D97-AF65-F5344CB8AC3E}">
        <p14:creationId xmlns:p14="http://schemas.microsoft.com/office/powerpoint/2010/main" val="53515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dirty="0" smtClean="0">
                <a:solidFill>
                  <a:srgbClr val="000000"/>
                </a:solidFill>
                <a:latin typeface="Georgia"/>
              </a:rPr>
              <a:t>Contextual issues for 2021 MTEF</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614400" y="1208581"/>
            <a:ext cx="5398750" cy="5339795"/>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a:solidFill>
                  <a:schemeClr val="tx1"/>
                </a:solidFill>
                <a:latin typeface="Calibri Light"/>
                <a:cs typeface="Calibri Light"/>
              </a:rPr>
              <a:t>Contextual </a:t>
            </a:r>
            <a:r>
              <a:rPr lang="en-ZA" sz="2799" b="1" dirty="0" smtClean="0">
                <a:solidFill>
                  <a:schemeClr val="tx1"/>
                </a:solidFill>
                <a:latin typeface="Calibri Light"/>
                <a:cs typeface="Calibri Light"/>
              </a:rPr>
              <a:t>Issu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dirty="0">
              <a:latin typeface="Calibri Light" panose="020F0302020204030204" pitchFamily="34" charset="0"/>
              <a:ea typeface="Calibri"/>
              <a:cs typeface="Calibri Light" panose="020F0302020204030204" pitchFamily="34" charset="0"/>
            </a:endParaRP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Proposed budget cuts by NT</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Implications of Covid-19 on the operating environment (demand for health care servic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Low economic growth (GDP contract by 7.3% in 2020)</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rime trends (upward trend of serious crim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apacity constrains (officials in isolation, quarantine and rotation)</a:t>
            </a:r>
          </a:p>
          <a:p>
            <a:pPr marL="342900" lvl="0" indent="-342900">
              <a:spcBef>
                <a:spcPts val="300"/>
              </a:spcBef>
              <a:spcAft>
                <a:spcPts val="300"/>
              </a:spcAft>
              <a:buClr>
                <a:srgbClr val="000000"/>
              </a:buClr>
              <a:buFont typeface="Arial" panose="020B0604020202020204" pitchFamily="34" charset="0"/>
              <a:buChar char="•"/>
            </a:pPr>
            <a:r>
              <a:rPr lang="en-ZA" sz="2000" kern="0" dirty="0">
                <a:solidFill>
                  <a:srgbClr val="000000"/>
                </a:solidFill>
                <a:latin typeface="Calibri Light" panose="020F0302020204030204" pitchFamily="34" charset="0"/>
                <a:ea typeface="Calibri"/>
                <a:cs typeface="Calibri Light" panose="020F0302020204030204" pitchFamily="34" charset="0"/>
                <a:sym typeface="Arial"/>
              </a:rPr>
              <a:t>Culture change (increasing use of technology)</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ther resource constrain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vercrowding (slow CJ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urrent 2020/21 actual performance</a:t>
            </a:r>
            <a:endParaRPr lang="en-ZA" sz="2000" dirty="0">
              <a:latin typeface="Calibri Light" panose="020F0302020204030204" pitchFamily="34" charset="0"/>
              <a:ea typeface="Calibri"/>
              <a:cs typeface="Calibri Light" panose="020F0302020204030204" pitchFamily="34" charset="0"/>
            </a:endParaRPr>
          </a:p>
        </p:txBody>
      </p:sp>
      <p:sp>
        <p:nvSpPr>
          <p:cNvPr id="6" name="TextBox 5"/>
          <p:cNvSpPr txBox="1"/>
          <p:nvPr/>
        </p:nvSpPr>
        <p:spPr>
          <a:xfrm>
            <a:off x="6216787" y="1208579"/>
            <a:ext cx="5444077" cy="5328000"/>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smtClean="0">
                <a:solidFill>
                  <a:schemeClr val="tx1"/>
                </a:solidFill>
                <a:latin typeface="Calibri Light"/>
                <a:cs typeface="Calibri Light"/>
              </a:rPr>
              <a:t>Opportuniti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elf sufficiency</a:t>
            </a:r>
          </a:p>
          <a:p>
            <a:pPr marL="342831" indent="-342831">
              <a:spcBef>
                <a:spcPts val="600"/>
              </a:spcBef>
              <a:spcAft>
                <a:spcPts val="600"/>
              </a:spcAft>
              <a:buFont typeface="Arial" panose="020B0604020202020204" pitchFamily="34" charset="0"/>
              <a:buChar char="•"/>
            </a:pPr>
            <a:r>
              <a:rPr lang="en-US" sz="2000" dirty="0">
                <a:latin typeface="Calibri Light" panose="020F0302020204030204" pitchFamily="34" charset="0"/>
                <a:ea typeface="Calibri"/>
                <a:cs typeface="Calibri Light" panose="020F0302020204030204" pitchFamily="34" charset="0"/>
              </a:rPr>
              <a:t>Partnerships</a:t>
            </a:r>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Promote the option of community corrections as alternative sentenc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utomation</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lternative modes of delivery</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Remote work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taff motivation</a:t>
            </a:r>
          </a:p>
        </p:txBody>
      </p:sp>
      <p:sp>
        <p:nvSpPr>
          <p:cNvPr id="7" name="Rounded Rectangle 6">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15" name="Straight Connector 14">
            <a:extLst>
              <a:ext uri="{FF2B5EF4-FFF2-40B4-BE49-F238E27FC236}">
                <a16:creationId xmlns="" xmlns:a16="http://schemas.microsoft.com/office/drawing/2014/main" id="{D4D9F918-F730-4449-AB3E-2E8143B1A414}"/>
              </a:ext>
            </a:extLst>
          </p:cNvPr>
          <p:cNvCxnSpPr>
            <a:cxnSpLocks/>
          </p:cNvCxnSpPr>
          <p:nvPr/>
        </p:nvCxnSpPr>
        <p:spPr>
          <a:xfrm>
            <a:off x="4820461" y="922564"/>
            <a:ext cx="7022965" cy="5346"/>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14310377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a:off x="4839128" y="904126"/>
            <a:ext cx="7004298" cy="6598"/>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Vision 2068</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5" name="Rounded Rectangle 14"/>
          <p:cNvSpPr/>
          <p:nvPr/>
        </p:nvSpPr>
        <p:spPr>
          <a:xfrm>
            <a:off x="343499" y="1191574"/>
            <a:ext cx="11315101" cy="5248818"/>
          </a:xfrm>
          <a:prstGeom prst="roundRect">
            <a:avLst>
              <a:gd name="adj" fmla="val 6565"/>
            </a:avLst>
          </a:prstGeom>
          <a:solidFill>
            <a:srgbClr val="548235"/>
          </a:solidFill>
          <a:ln>
            <a:noFill/>
          </a:ln>
          <a:effectLst>
            <a:outerShdw blurRad="203200" sx="103000" sy="103000" algn="ctr"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a:off x="4113304" y="1171860"/>
            <a:ext cx="3172" cy="5248818"/>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37189" y="4436069"/>
            <a:ext cx="3303492" cy="246221"/>
          </a:xfrm>
          <a:prstGeom prst="rect">
            <a:avLst/>
          </a:prstGeom>
          <a:noFill/>
        </p:spPr>
        <p:txBody>
          <a:bodyPr wrap="square" lIns="0" tIns="0" rIns="0" bIns="0" rtlCol="0">
            <a:spAutoFit/>
          </a:bodyPr>
          <a:lstStyle>
            <a:defPPr>
              <a:defRPr lang="en-US"/>
            </a:defPPr>
            <a:lvl1pPr marL="171450" indent="-171450">
              <a:buFont typeface="Arial" panose="020B0604020202020204" pitchFamily="34" charset="0"/>
              <a:buChar char="•"/>
              <a:defRPr sz="1600">
                <a:solidFill>
                  <a:schemeClr val="bg1"/>
                </a:solidFill>
                <a:latin typeface="+mj-lt"/>
                <a:ea typeface="Arial" charset="0"/>
                <a:cs typeface="Arial" charset="0"/>
              </a:defRPr>
            </a:lvl1pPr>
          </a:lstStyle>
          <a:p>
            <a:r>
              <a:rPr lang="en-US" dirty="0" err="1"/>
              <a:t>xxxx</a:t>
            </a:r>
            <a:endParaRPr lang="en-US" dirty="0"/>
          </a:p>
        </p:txBody>
      </p:sp>
      <p:sp>
        <p:nvSpPr>
          <p:cNvPr id="21" name="TextBox 20"/>
          <p:cNvSpPr txBox="1"/>
          <p:nvPr/>
        </p:nvSpPr>
        <p:spPr>
          <a:xfrm>
            <a:off x="576656" y="3851294"/>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Vision 2068 (Objectives for Finance)</a:t>
            </a:r>
            <a:endParaRPr lang="en-US" sz="1600" b="1" dirty="0">
              <a:solidFill>
                <a:srgbClr val="FFA6D4"/>
              </a:solidFill>
              <a:ea typeface="Arial" charset="0"/>
              <a:cs typeface="Arial" charset="0"/>
            </a:endParaRPr>
          </a:p>
        </p:txBody>
      </p:sp>
      <p:sp>
        <p:nvSpPr>
          <p:cNvPr id="22" name="TextBox 21"/>
          <p:cNvSpPr txBox="1"/>
          <p:nvPr/>
        </p:nvSpPr>
        <p:spPr>
          <a:xfrm>
            <a:off x="4400066" y="4062908"/>
            <a:ext cx="3303492" cy="24622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600" dirty="0" err="1" smtClean="0">
                <a:solidFill>
                  <a:schemeClr val="bg1"/>
                </a:solidFill>
                <a:latin typeface="+mj-lt"/>
                <a:ea typeface="Arial" charset="0"/>
                <a:cs typeface="Arial" charset="0"/>
              </a:rPr>
              <a:t>xxxx</a:t>
            </a:r>
            <a:endParaRPr lang="en-US" sz="1600" dirty="0">
              <a:solidFill>
                <a:schemeClr val="bg1"/>
              </a:solidFill>
              <a:latin typeface="+mj-lt"/>
              <a:ea typeface="Arial" charset="0"/>
              <a:cs typeface="Arial" charset="0"/>
            </a:endParaRPr>
          </a:p>
        </p:txBody>
      </p:sp>
      <p:sp>
        <p:nvSpPr>
          <p:cNvPr id="23" name="TextBox 22"/>
          <p:cNvSpPr txBox="1"/>
          <p:nvPr/>
        </p:nvSpPr>
        <p:spPr>
          <a:xfrm>
            <a:off x="4527586" y="3733840"/>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have we achieved thus far</a:t>
            </a:r>
            <a:endParaRPr lang="en-US" sz="1600" b="1" dirty="0">
              <a:solidFill>
                <a:srgbClr val="FFA6D4"/>
              </a:solidFill>
              <a:ea typeface="Arial" charset="0"/>
              <a:cs typeface="Arial" charset="0"/>
            </a:endParaRPr>
          </a:p>
        </p:txBody>
      </p:sp>
      <p:sp>
        <p:nvSpPr>
          <p:cNvPr id="24" name="TextBox 23"/>
          <p:cNvSpPr txBox="1"/>
          <p:nvPr/>
        </p:nvSpPr>
        <p:spPr>
          <a:xfrm>
            <a:off x="8119108" y="4343737"/>
            <a:ext cx="3303492" cy="43088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What is the new thought process</a:t>
            </a:r>
          </a:p>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Key levers to be considered</a:t>
            </a:r>
            <a:endParaRPr lang="en-US" sz="1400" dirty="0">
              <a:solidFill>
                <a:schemeClr val="bg1"/>
              </a:solidFill>
              <a:latin typeface="+mj-lt"/>
              <a:ea typeface="Arial" charset="0"/>
              <a:cs typeface="Arial" charset="0"/>
            </a:endParaRPr>
          </a:p>
        </p:txBody>
      </p:sp>
      <p:sp>
        <p:nvSpPr>
          <p:cNvPr id="25" name="TextBox 24"/>
          <p:cNvSpPr txBox="1"/>
          <p:nvPr/>
        </p:nvSpPr>
        <p:spPr>
          <a:xfrm>
            <a:off x="8242188" y="3733839"/>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do we still need to do to get there</a:t>
            </a:r>
            <a:endParaRPr lang="en-US" sz="1600" b="1" dirty="0">
              <a:solidFill>
                <a:srgbClr val="FFA6D4"/>
              </a:solidFill>
              <a:ea typeface="Arial" charset="0"/>
              <a:cs typeface="Arial" charset="0"/>
            </a:endParaRPr>
          </a:p>
        </p:txBody>
      </p:sp>
      <p:cxnSp>
        <p:nvCxnSpPr>
          <p:cNvPr id="26" name="Straight Connector 25"/>
          <p:cNvCxnSpPr/>
          <p:nvPr/>
        </p:nvCxnSpPr>
        <p:spPr>
          <a:xfrm flipH="1">
            <a:off x="7883101" y="1170124"/>
            <a:ext cx="1" cy="5250554"/>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9" name="Round Single Corner Rectangle 28"/>
          <p:cNvSpPr/>
          <p:nvPr/>
        </p:nvSpPr>
        <p:spPr>
          <a:xfrm>
            <a:off x="7886282" y="1174857"/>
            <a:ext cx="3778524" cy="2517350"/>
          </a:xfrm>
          <a:prstGeom prst="round1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Rectangle 29"/>
          <p:cNvSpPr/>
          <p:nvPr/>
        </p:nvSpPr>
        <p:spPr>
          <a:xfrm>
            <a:off x="4136297" y="1181702"/>
            <a:ext cx="3723812" cy="2499466"/>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1" name="Round Same Side Corner Rectangle 5"/>
          <p:cNvSpPr/>
          <p:nvPr/>
        </p:nvSpPr>
        <p:spPr>
          <a:xfrm>
            <a:off x="341196" y="1175635"/>
            <a:ext cx="3775280" cy="2505533"/>
          </a:xfrm>
          <a:custGeom>
            <a:avLst/>
            <a:gdLst>
              <a:gd name="connsiteX0" fmla="*/ 418516 w 3645944"/>
              <a:gd name="connsiteY0" fmla="*/ 0 h 2511043"/>
              <a:gd name="connsiteX1" fmla="*/ 3227428 w 3645944"/>
              <a:gd name="connsiteY1" fmla="*/ 0 h 2511043"/>
              <a:gd name="connsiteX2" fmla="*/ 3645944 w 3645944"/>
              <a:gd name="connsiteY2" fmla="*/ 418516 h 2511043"/>
              <a:gd name="connsiteX3" fmla="*/ 3645944 w 3645944"/>
              <a:gd name="connsiteY3" fmla="*/ 2511043 h 2511043"/>
              <a:gd name="connsiteX4" fmla="*/ 3645944 w 3645944"/>
              <a:gd name="connsiteY4" fmla="*/ 2511043 h 2511043"/>
              <a:gd name="connsiteX5" fmla="*/ 0 w 3645944"/>
              <a:gd name="connsiteY5" fmla="*/ 2511043 h 2511043"/>
              <a:gd name="connsiteX6" fmla="*/ 0 w 3645944"/>
              <a:gd name="connsiteY6" fmla="*/ 2511043 h 2511043"/>
              <a:gd name="connsiteX7" fmla="*/ 0 w 3645944"/>
              <a:gd name="connsiteY7" fmla="*/ 418516 h 2511043"/>
              <a:gd name="connsiteX8" fmla="*/ 418516 w 3645944"/>
              <a:gd name="connsiteY8" fmla="*/ 0 h 2511043"/>
              <a:gd name="connsiteX0" fmla="*/ 418516 w 3666264"/>
              <a:gd name="connsiteY0" fmla="*/ 2051 h 2513094"/>
              <a:gd name="connsiteX1" fmla="*/ 32274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051 h 2513094"/>
              <a:gd name="connsiteX1" fmla="*/ 34306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30 h 2511273"/>
              <a:gd name="connsiteX1" fmla="*/ 3430628 w 3666264"/>
              <a:gd name="connsiteY1" fmla="*/ 230 h 2511273"/>
              <a:gd name="connsiteX2" fmla="*/ 3666264 w 3666264"/>
              <a:gd name="connsiteY2" fmla="*/ 215546 h 2511273"/>
              <a:gd name="connsiteX3" fmla="*/ 3645944 w 3666264"/>
              <a:gd name="connsiteY3" fmla="*/ 2511273 h 2511273"/>
              <a:gd name="connsiteX4" fmla="*/ 3645944 w 3666264"/>
              <a:gd name="connsiteY4" fmla="*/ 2511273 h 2511273"/>
              <a:gd name="connsiteX5" fmla="*/ 0 w 3666264"/>
              <a:gd name="connsiteY5" fmla="*/ 2511273 h 2511273"/>
              <a:gd name="connsiteX6" fmla="*/ 0 w 3666264"/>
              <a:gd name="connsiteY6" fmla="*/ 2511273 h 2511273"/>
              <a:gd name="connsiteX7" fmla="*/ 0 w 3666264"/>
              <a:gd name="connsiteY7" fmla="*/ 418746 h 2511273"/>
              <a:gd name="connsiteX8" fmla="*/ 418516 w 3666264"/>
              <a:gd name="connsiteY8" fmla="*/ 230 h 2511273"/>
              <a:gd name="connsiteX0" fmla="*/ 418516 w 3667052"/>
              <a:gd name="connsiteY0" fmla="*/ 230 h 2511273"/>
              <a:gd name="connsiteX1" fmla="*/ 3460098 w 3667052"/>
              <a:gd name="connsiteY1" fmla="*/ 230 h 2511273"/>
              <a:gd name="connsiteX2" fmla="*/ 3666264 w 3667052"/>
              <a:gd name="connsiteY2" fmla="*/ 215546 h 2511273"/>
              <a:gd name="connsiteX3" fmla="*/ 3645944 w 3667052"/>
              <a:gd name="connsiteY3" fmla="*/ 2511273 h 2511273"/>
              <a:gd name="connsiteX4" fmla="*/ 3645944 w 3667052"/>
              <a:gd name="connsiteY4" fmla="*/ 2511273 h 2511273"/>
              <a:gd name="connsiteX5" fmla="*/ 0 w 3667052"/>
              <a:gd name="connsiteY5" fmla="*/ 2511273 h 2511273"/>
              <a:gd name="connsiteX6" fmla="*/ 0 w 3667052"/>
              <a:gd name="connsiteY6" fmla="*/ 2511273 h 2511273"/>
              <a:gd name="connsiteX7" fmla="*/ 0 w 3667052"/>
              <a:gd name="connsiteY7" fmla="*/ 418746 h 2511273"/>
              <a:gd name="connsiteX8" fmla="*/ 418516 w 3667052"/>
              <a:gd name="connsiteY8" fmla="*/ 230 h 2511273"/>
              <a:gd name="connsiteX0" fmla="*/ 418516 w 3650079"/>
              <a:gd name="connsiteY0" fmla="*/ 230 h 2511273"/>
              <a:gd name="connsiteX1" fmla="*/ 3460098 w 3650079"/>
              <a:gd name="connsiteY1" fmla="*/ 230 h 2511273"/>
              <a:gd name="connsiteX2" fmla="*/ 3646618 w 3650079"/>
              <a:gd name="connsiteY2" fmla="*/ 215546 h 2511273"/>
              <a:gd name="connsiteX3" fmla="*/ 3645944 w 3650079"/>
              <a:gd name="connsiteY3" fmla="*/ 2511273 h 2511273"/>
              <a:gd name="connsiteX4" fmla="*/ 3645944 w 3650079"/>
              <a:gd name="connsiteY4" fmla="*/ 2511273 h 2511273"/>
              <a:gd name="connsiteX5" fmla="*/ 0 w 3650079"/>
              <a:gd name="connsiteY5" fmla="*/ 2511273 h 2511273"/>
              <a:gd name="connsiteX6" fmla="*/ 0 w 3650079"/>
              <a:gd name="connsiteY6" fmla="*/ 2511273 h 2511273"/>
              <a:gd name="connsiteX7" fmla="*/ 0 w 3650079"/>
              <a:gd name="connsiteY7" fmla="*/ 418746 h 2511273"/>
              <a:gd name="connsiteX8" fmla="*/ 418516 w 3650079"/>
              <a:gd name="connsiteY8" fmla="*/ 230 h 251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079" h="2511273">
                <a:moveTo>
                  <a:pt x="418516" y="230"/>
                </a:moveTo>
                <a:lnTo>
                  <a:pt x="3460098" y="230"/>
                </a:lnTo>
                <a:cubicBezTo>
                  <a:pt x="3691238" y="230"/>
                  <a:pt x="3646618" y="-15594"/>
                  <a:pt x="3646618" y="215546"/>
                </a:cubicBezTo>
                <a:cubicBezTo>
                  <a:pt x="3646393" y="980788"/>
                  <a:pt x="3646169" y="1746031"/>
                  <a:pt x="3645944" y="2511273"/>
                </a:cubicBezTo>
                <a:lnTo>
                  <a:pt x="3645944" y="2511273"/>
                </a:lnTo>
                <a:lnTo>
                  <a:pt x="0" y="2511273"/>
                </a:lnTo>
                <a:lnTo>
                  <a:pt x="0" y="2511273"/>
                </a:lnTo>
                <a:lnTo>
                  <a:pt x="0" y="418746"/>
                </a:lnTo>
                <a:cubicBezTo>
                  <a:pt x="0" y="187606"/>
                  <a:pt x="187376" y="230"/>
                  <a:pt x="418516" y="230"/>
                </a:cubicBezTo>
                <a:close/>
              </a:path>
            </a:pathLst>
          </a:cu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189720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Prioritie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8" name="Oval 7">
            <a:extLst>
              <a:ext uri="{FF2B5EF4-FFF2-40B4-BE49-F238E27FC236}">
                <a16:creationId xmlns:a16="http://schemas.microsoft.com/office/drawing/2014/main" xmlns="" id="{2EF9CEEA-65F2-4E31-AFB9-C410E054534C}"/>
              </a:ext>
            </a:extLst>
          </p:cNvPr>
          <p:cNvSpPr/>
          <p:nvPr/>
        </p:nvSpPr>
        <p:spPr>
          <a:xfrm>
            <a:off x="7354583" y="1097837"/>
            <a:ext cx="828000" cy="828000"/>
          </a:xfrm>
          <a:prstGeom prst="ellipse">
            <a:avLst/>
          </a:prstGeom>
          <a:solidFill>
            <a:srgbClr val="FF0482">
              <a:alpha val="62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1.</a:t>
            </a:r>
          </a:p>
        </p:txBody>
      </p:sp>
      <p:sp>
        <p:nvSpPr>
          <p:cNvPr id="9" name="TextBox 8">
            <a:extLst>
              <a:ext uri="{FF2B5EF4-FFF2-40B4-BE49-F238E27FC236}">
                <a16:creationId xmlns:a16="http://schemas.microsoft.com/office/drawing/2014/main" xmlns="" id="{C90934C4-AAF6-4ACA-8380-F4EBEDFFCE2D}"/>
              </a:ext>
            </a:extLst>
          </p:cNvPr>
          <p:cNvSpPr txBox="1"/>
          <p:nvPr/>
        </p:nvSpPr>
        <p:spPr>
          <a:xfrm>
            <a:off x="8424549" y="1220735"/>
            <a:ext cx="2178712" cy="1077218"/>
          </a:xfrm>
          <a:prstGeom prst="rect">
            <a:avLst/>
          </a:prstGeom>
          <a:noFill/>
        </p:spPr>
        <p:txBody>
          <a:bodyPr wrap="square" rtlCol="0">
            <a:spAutoFit/>
          </a:bodyPr>
          <a:lstStyle/>
          <a:p>
            <a:r>
              <a:rPr lang="en-US" sz="1600" b="1" dirty="0">
                <a:latin typeface="+mj-lt"/>
              </a:rPr>
              <a:t>PRIORITY 1: </a:t>
            </a:r>
            <a:endParaRPr lang="en-US" sz="1600" b="1" dirty="0" smtClean="0">
              <a:latin typeface="+mj-lt"/>
            </a:endParaRPr>
          </a:p>
          <a:p>
            <a:r>
              <a:rPr lang="en-US" sz="1600" b="1" dirty="0" smtClean="0">
                <a:latin typeface="+mj-lt"/>
              </a:rPr>
              <a:t>Building </a:t>
            </a:r>
            <a:r>
              <a:rPr lang="en-US" sz="1600" b="1" dirty="0">
                <a:latin typeface="+mj-lt"/>
              </a:rPr>
              <a:t>a capable, ethical and developmental state</a:t>
            </a:r>
            <a:endParaRPr lang="en-US" sz="1600" b="1" dirty="0">
              <a:latin typeface="+mj-lt"/>
              <a:cs typeface="Arial" panose="020B0604020202020204" pitchFamily="34" charset="0"/>
            </a:endParaRPr>
          </a:p>
        </p:txBody>
      </p:sp>
      <p:sp>
        <p:nvSpPr>
          <p:cNvPr id="10" name="Oval 9">
            <a:extLst>
              <a:ext uri="{FF2B5EF4-FFF2-40B4-BE49-F238E27FC236}">
                <a16:creationId xmlns:a16="http://schemas.microsoft.com/office/drawing/2014/main" xmlns="" id="{2EF9CEEA-65F2-4E31-AFB9-C410E054534C}"/>
              </a:ext>
            </a:extLst>
          </p:cNvPr>
          <p:cNvSpPr/>
          <p:nvPr/>
        </p:nvSpPr>
        <p:spPr>
          <a:xfrm>
            <a:off x="8156696" y="2797431"/>
            <a:ext cx="828000" cy="828000"/>
          </a:xfrm>
          <a:prstGeom prst="ellipse">
            <a:avLst/>
          </a:prstGeom>
          <a:solidFill>
            <a:srgbClr val="FFC16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2.</a:t>
            </a:r>
          </a:p>
        </p:txBody>
      </p:sp>
      <p:sp>
        <p:nvSpPr>
          <p:cNvPr id="11" name="TextBox 10">
            <a:extLst>
              <a:ext uri="{FF2B5EF4-FFF2-40B4-BE49-F238E27FC236}">
                <a16:creationId xmlns:a16="http://schemas.microsoft.com/office/drawing/2014/main" xmlns="" id="{6E3AD5FD-4B1C-4605-9CCA-D4565051EDEF}"/>
              </a:ext>
            </a:extLst>
          </p:cNvPr>
          <p:cNvSpPr txBox="1"/>
          <p:nvPr/>
        </p:nvSpPr>
        <p:spPr>
          <a:xfrm>
            <a:off x="9123266" y="2750406"/>
            <a:ext cx="2205106" cy="1077218"/>
          </a:xfrm>
          <a:prstGeom prst="rect">
            <a:avLst/>
          </a:prstGeom>
          <a:noFill/>
        </p:spPr>
        <p:txBody>
          <a:bodyPr wrap="square" rtlCol="0">
            <a:spAutoFit/>
          </a:bodyPr>
          <a:lstStyle/>
          <a:p>
            <a:r>
              <a:rPr lang="en-US" sz="1600" dirty="0">
                <a:latin typeface="+mj-lt"/>
              </a:rPr>
              <a:t>PRIORITY 2: </a:t>
            </a:r>
            <a:endParaRPr lang="en-US" sz="1600" dirty="0" smtClean="0">
              <a:latin typeface="+mj-lt"/>
            </a:endParaRPr>
          </a:p>
          <a:p>
            <a:r>
              <a:rPr lang="en-US" sz="1600" dirty="0" smtClean="0">
                <a:latin typeface="+mj-lt"/>
              </a:rPr>
              <a:t>Economic </a:t>
            </a:r>
            <a:r>
              <a:rPr lang="en-US" sz="1600" dirty="0">
                <a:latin typeface="+mj-lt"/>
              </a:rPr>
              <a:t>transformation and job creation</a:t>
            </a:r>
            <a:endParaRPr lang="en-US" sz="1600" dirty="0">
              <a:latin typeface="+mj-lt"/>
              <a:cs typeface="Arial" panose="020B0604020202020204" pitchFamily="34" charset="0"/>
            </a:endParaRPr>
          </a:p>
        </p:txBody>
      </p:sp>
      <p:sp>
        <p:nvSpPr>
          <p:cNvPr id="12" name="Oval 11">
            <a:extLst>
              <a:ext uri="{FF2B5EF4-FFF2-40B4-BE49-F238E27FC236}">
                <a16:creationId xmlns:a16="http://schemas.microsoft.com/office/drawing/2014/main" xmlns="" id="{2EF9CEEA-65F2-4E31-AFB9-C410E054534C}"/>
              </a:ext>
            </a:extLst>
          </p:cNvPr>
          <p:cNvSpPr/>
          <p:nvPr/>
        </p:nvSpPr>
        <p:spPr>
          <a:xfrm>
            <a:off x="5404162" y="5665280"/>
            <a:ext cx="828000" cy="828000"/>
          </a:xfrm>
          <a:prstGeom prst="ellipse">
            <a:avLst/>
          </a:prstGeom>
          <a:solidFill>
            <a:srgbClr val="FF8C00">
              <a:alpha val="5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4.</a:t>
            </a:r>
          </a:p>
        </p:txBody>
      </p:sp>
      <p:sp>
        <p:nvSpPr>
          <p:cNvPr id="13" name="Oval 12">
            <a:extLst>
              <a:ext uri="{FF2B5EF4-FFF2-40B4-BE49-F238E27FC236}">
                <a16:creationId xmlns:a16="http://schemas.microsoft.com/office/drawing/2014/main" xmlns="" id="{2EF9CEEA-65F2-4E31-AFB9-C410E054534C}"/>
              </a:ext>
            </a:extLst>
          </p:cNvPr>
          <p:cNvSpPr/>
          <p:nvPr/>
        </p:nvSpPr>
        <p:spPr>
          <a:xfrm>
            <a:off x="7613207" y="4698710"/>
            <a:ext cx="828000" cy="828000"/>
          </a:xfrm>
          <a:prstGeom prst="ellipse">
            <a:avLst/>
          </a:prstGeom>
          <a:solidFill>
            <a:srgbClr val="40E0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3.</a:t>
            </a:r>
          </a:p>
        </p:txBody>
      </p:sp>
      <p:sp>
        <p:nvSpPr>
          <p:cNvPr id="14" name="TextBox 13">
            <a:extLst>
              <a:ext uri="{FF2B5EF4-FFF2-40B4-BE49-F238E27FC236}">
                <a16:creationId xmlns:a16="http://schemas.microsoft.com/office/drawing/2014/main" xmlns="" id="{F1E9BC3B-71CD-4C38-9744-9381ABD02474}"/>
              </a:ext>
            </a:extLst>
          </p:cNvPr>
          <p:cNvSpPr txBox="1"/>
          <p:nvPr/>
        </p:nvSpPr>
        <p:spPr>
          <a:xfrm>
            <a:off x="2366353" y="5665280"/>
            <a:ext cx="2938422" cy="830997"/>
          </a:xfrm>
          <a:prstGeom prst="rect">
            <a:avLst/>
          </a:prstGeom>
          <a:noFill/>
        </p:spPr>
        <p:txBody>
          <a:bodyPr wrap="square" rtlCol="0">
            <a:spAutoFit/>
          </a:bodyPr>
          <a:lstStyle/>
          <a:p>
            <a:pPr algn="r"/>
            <a:r>
              <a:rPr lang="en-US" sz="1600" dirty="0">
                <a:latin typeface="+mj-lt"/>
              </a:rPr>
              <a:t>PRIORITY 4: Consolidating the social wage through reliable and quality basic services</a:t>
            </a:r>
            <a:endParaRPr lang="en-US" sz="1600" dirty="0">
              <a:latin typeface="+mj-lt"/>
              <a:cs typeface="Arial" panose="020B0604020202020204" pitchFamily="34" charset="0"/>
            </a:endParaRPr>
          </a:p>
        </p:txBody>
      </p:sp>
      <p:sp>
        <p:nvSpPr>
          <p:cNvPr id="15" name="TextBox 14">
            <a:extLst>
              <a:ext uri="{FF2B5EF4-FFF2-40B4-BE49-F238E27FC236}">
                <a16:creationId xmlns:a16="http://schemas.microsoft.com/office/drawing/2014/main" xmlns="" id="{7FDA81E1-79F0-458E-B167-30CB1C797483}"/>
              </a:ext>
            </a:extLst>
          </p:cNvPr>
          <p:cNvSpPr txBox="1"/>
          <p:nvPr/>
        </p:nvSpPr>
        <p:spPr>
          <a:xfrm>
            <a:off x="8639981" y="4928171"/>
            <a:ext cx="2205106" cy="830997"/>
          </a:xfrm>
          <a:prstGeom prst="rect">
            <a:avLst/>
          </a:prstGeom>
          <a:noFill/>
        </p:spPr>
        <p:txBody>
          <a:bodyPr wrap="square" rtlCol="0">
            <a:spAutoFit/>
          </a:bodyPr>
          <a:lstStyle/>
          <a:p>
            <a:r>
              <a:rPr lang="en-US" sz="1600" dirty="0">
                <a:latin typeface="+mj-lt"/>
              </a:rPr>
              <a:t>PRIORITY 3: </a:t>
            </a:r>
            <a:endParaRPr lang="en-US" sz="1600" dirty="0" smtClean="0">
              <a:latin typeface="+mj-lt"/>
            </a:endParaRPr>
          </a:p>
          <a:p>
            <a:r>
              <a:rPr lang="en-US" sz="1600" dirty="0" smtClean="0">
                <a:latin typeface="+mj-lt"/>
              </a:rPr>
              <a:t>Education</a:t>
            </a:r>
            <a:r>
              <a:rPr lang="en-US" sz="1600" dirty="0">
                <a:latin typeface="+mj-lt"/>
              </a:rPr>
              <a:t>, skills and health</a:t>
            </a:r>
            <a:endParaRPr lang="en-US" sz="1600" dirty="0">
              <a:latin typeface="+mj-lt"/>
              <a:cs typeface="Arial" panose="020B0604020202020204" pitchFamily="34" charset="0"/>
            </a:endParaRPr>
          </a:p>
        </p:txBody>
      </p:sp>
      <p:sp>
        <p:nvSpPr>
          <p:cNvPr id="16" name="Oval 15">
            <a:extLst>
              <a:ext uri="{FF2B5EF4-FFF2-40B4-BE49-F238E27FC236}">
                <a16:creationId xmlns:a16="http://schemas.microsoft.com/office/drawing/2014/main" xmlns="" id="{2EF9CEEA-65F2-4E31-AFB9-C410E054534C}"/>
              </a:ext>
            </a:extLst>
          </p:cNvPr>
          <p:cNvSpPr/>
          <p:nvPr/>
        </p:nvSpPr>
        <p:spPr>
          <a:xfrm>
            <a:off x="2910522" y="4377099"/>
            <a:ext cx="828000" cy="82800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5.</a:t>
            </a:r>
          </a:p>
        </p:txBody>
      </p:sp>
      <p:sp>
        <p:nvSpPr>
          <p:cNvPr id="17" name="TextBox 16">
            <a:extLst>
              <a:ext uri="{FF2B5EF4-FFF2-40B4-BE49-F238E27FC236}">
                <a16:creationId xmlns:a16="http://schemas.microsoft.com/office/drawing/2014/main" xmlns="" id="{6E3AD5FD-4B1C-4605-9CCA-D4565051EDEF}"/>
              </a:ext>
            </a:extLst>
          </p:cNvPr>
          <p:cNvSpPr txBox="1"/>
          <p:nvPr/>
        </p:nvSpPr>
        <p:spPr>
          <a:xfrm>
            <a:off x="645212" y="4452489"/>
            <a:ext cx="2205106" cy="1077218"/>
          </a:xfrm>
          <a:prstGeom prst="rect">
            <a:avLst/>
          </a:prstGeom>
          <a:noFill/>
        </p:spPr>
        <p:txBody>
          <a:bodyPr wrap="square" rtlCol="0">
            <a:spAutoFit/>
          </a:bodyPr>
          <a:lstStyle/>
          <a:p>
            <a:pPr algn="r"/>
            <a:r>
              <a:rPr lang="en-US" sz="1600" dirty="0">
                <a:latin typeface="+mj-lt"/>
              </a:rPr>
              <a:t>PRIORITY 5: </a:t>
            </a:r>
            <a:endParaRPr lang="en-US" sz="1600" dirty="0" smtClean="0">
              <a:latin typeface="+mj-lt"/>
            </a:endParaRPr>
          </a:p>
          <a:p>
            <a:pPr algn="r"/>
            <a:r>
              <a:rPr lang="en-US" sz="1600" dirty="0" smtClean="0">
                <a:latin typeface="+mj-lt"/>
              </a:rPr>
              <a:t>Spatial </a:t>
            </a:r>
            <a:r>
              <a:rPr lang="en-US" sz="1600" dirty="0">
                <a:latin typeface="+mj-lt"/>
              </a:rPr>
              <a:t>integration, human settlements and local government</a:t>
            </a:r>
            <a:endParaRPr lang="en-US" sz="1600" dirty="0">
              <a:latin typeface="+mj-lt"/>
              <a:cs typeface="Arial" panose="020B0604020202020204" pitchFamily="34" charset="0"/>
            </a:endParaRPr>
          </a:p>
        </p:txBody>
      </p:sp>
      <p:sp>
        <p:nvSpPr>
          <p:cNvPr id="18" name="TextBox 17">
            <a:extLst>
              <a:ext uri="{FF2B5EF4-FFF2-40B4-BE49-F238E27FC236}">
                <a16:creationId xmlns:a16="http://schemas.microsoft.com/office/drawing/2014/main" xmlns="" id="{6E3AD5FD-4B1C-4605-9CCA-D4565051EDEF}"/>
              </a:ext>
            </a:extLst>
          </p:cNvPr>
          <p:cNvSpPr txBox="1"/>
          <p:nvPr/>
        </p:nvSpPr>
        <p:spPr>
          <a:xfrm>
            <a:off x="376057" y="2399544"/>
            <a:ext cx="2205106" cy="1323439"/>
          </a:xfrm>
          <a:prstGeom prst="rect">
            <a:avLst/>
          </a:prstGeom>
          <a:noFill/>
        </p:spPr>
        <p:txBody>
          <a:bodyPr wrap="square" rtlCol="0">
            <a:spAutoFit/>
          </a:bodyPr>
          <a:lstStyle/>
          <a:p>
            <a:pPr algn="r"/>
            <a:r>
              <a:rPr lang="en-US" sz="1600" dirty="0">
                <a:latin typeface="Calibri Light" panose="020F0302020204030204"/>
                <a:cs typeface="Arial" panose="020B0604020202020204" pitchFamily="34" charset="0"/>
              </a:rPr>
              <a:t>PRIORITY 6:</a:t>
            </a:r>
          </a:p>
          <a:p>
            <a:pPr algn="r"/>
            <a:r>
              <a:rPr lang="en-US" sz="1600" dirty="0">
                <a:latin typeface="Calibri Light" panose="020F0302020204030204"/>
                <a:cs typeface="Arial" panose="020B0604020202020204" pitchFamily="34" charset="0"/>
              </a:rPr>
              <a:t>Social</a:t>
            </a:r>
          </a:p>
          <a:p>
            <a:pPr algn="r"/>
            <a:r>
              <a:rPr lang="en-US" sz="1600" dirty="0">
                <a:latin typeface="Calibri Light" panose="020F0302020204030204"/>
                <a:cs typeface="Arial" panose="020B0604020202020204" pitchFamily="34" charset="0"/>
              </a:rPr>
              <a:t>cohesion</a:t>
            </a:r>
          </a:p>
          <a:p>
            <a:pPr algn="r"/>
            <a:r>
              <a:rPr lang="en-US" sz="1600" dirty="0">
                <a:latin typeface="Calibri Light" panose="020F0302020204030204"/>
                <a:cs typeface="Arial" panose="020B0604020202020204" pitchFamily="34" charset="0"/>
              </a:rPr>
              <a:t>and safe</a:t>
            </a:r>
          </a:p>
          <a:p>
            <a:pPr algn="r"/>
            <a:r>
              <a:rPr lang="en-US" sz="1600" dirty="0">
                <a:latin typeface="Calibri Light" panose="020F0302020204030204"/>
                <a:cs typeface="Arial" panose="020B0604020202020204" pitchFamily="34" charset="0"/>
              </a:rPr>
              <a:t>communities</a:t>
            </a:r>
          </a:p>
        </p:txBody>
      </p:sp>
      <p:graphicFrame>
        <p:nvGraphicFramePr>
          <p:cNvPr id="6" name="Chart 5">
            <a:extLst>
              <a:ext uri="{FF2B5EF4-FFF2-40B4-BE49-F238E27FC236}">
                <a16:creationId xmlns:a16="http://schemas.microsoft.com/office/drawing/2014/main" xmlns="" id="{8EEB3693-848E-488B-AABF-EBC1DE1C5DC1}"/>
              </a:ext>
            </a:extLst>
          </p:cNvPr>
          <p:cNvGraphicFramePr/>
          <p:nvPr>
            <p:extLst>
              <p:ext uri="{D42A27DB-BD31-4B8C-83A1-F6EECF244321}">
                <p14:modId xmlns:p14="http://schemas.microsoft.com/office/powerpoint/2010/main" val="2808555100"/>
              </p:ext>
            </p:extLst>
          </p:nvPr>
        </p:nvGraphicFramePr>
        <p:xfrm>
          <a:off x="2183155" y="1124212"/>
          <a:ext cx="7435488" cy="4634956"/>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a16="http://schemas.microsoft.com/office/drawing/2014/main" xmlns="" xmlns:lc="http://schemas.openxmlformats.org/drawingml/2006/lockedCanvas" id="{2EF9CEEA-65F2-4E31-AFB9-C410E054534C}"/>
              </a:ext>
            </a:extLst>
          </p:cNvPr>
          <p:cNvSpPr/>
          <p:nvPr/>
        </p:nvSpPr>
        <p:spPr>
          <a:xfrm>
            <a:off x="3731057" y="1101411"/>
            <a:ext cx="828000" cy="826774"/>
          </a:xfrm>
          <a:prstGeom prst="ellipse">
            <a:avLst/>
          </a:prstGeom>
          <a:solidFill>
            <a:srgbClr val="7030A0">
              <a:alpha val="61000"/>
            </a:srgbClr>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7</a:t>
            </a:r>
            <a:r>
              <a:rPr kumimoji="0" lang="en-US" sz="1800" b="0" i="0" u="none" strike="noStrike" kern="0" cap="none" spc="0" normalizeH="0" baseline="0" noProof="0" dirty="0" smtClean="0">
                <a:ln>
                  <a:noFill/>
                </a:ln>
                <a:solidFill>
                  <a:prstClr val="white"/>
                </a:solidFill>
                <a:effectLst/>
                <a:uLnTx/>
                <a:uFillTx/>
                <a:latin typeface="Calibri" panose="020F0502020204030204"/>
              </a:rPr>
              <a:t>.</a:t>
            </a:r>
          </a:p>
        </p:txBody>
      </p:sp>
      <p:sp>
        <p:nvSpPr>
          <p:cNvPr id="20" name="TextBox 19">
            <a:extLst>
              <a:ext uri="{FF2B5EF4-FFF2-40B4-BE49-F238E27FC236}">
                <a16:creationId xmlns:a16="http://schemas.microsoft.com/office/drawing/2014/main" xmlns="" id="{6E3AD5FD-4B1C-4605-9CCA-D4565051EDEF}"/>
              </a:ext>
            </a:extLst>
          </p:cNvPr>
          <p:cNvSpPr txBox="1"/>
          <p:nvPr/>
        </p:nvSpPr>
        <p:spPr>
          <a:xfrm>
            <a:off x="1525951" y="1288734"/>
            <a:ext cx="2205106" cy="584775"/>
          </a:xfrm>
          <a:prstGeom prst="rect">
            <a:avLst/>
          </a:prstGeom>
          <a:noFill/>
        </p:spPr>
        <p:txBody>
          <a:bodyPr wrap="square" rtlCol="0">
            <a:spAutoFit/>
          </a:bodyPr>
          <a:lstStyle/>
          <a:p>
            <a:pPr algn="r"/>
            <a:r>
              <a:rPr lang="en-US" sz="1600" dirty="0">
                <a:latin typeface="+mj-lt"/>
              </a:rPr>
              <a:t>PRIORITY 7: A better Africa and world</a:t>
            </a:r>
            <a:endParaRPr lang="en-US" sz="1600" dirty="0">
              <a:latin typeface="+mj-lt"/>
              <a:cs typeface="Arial" panose="020B0604020202020204" pitchFamily="34" charset="0"/>
            </a:endParaRPr>
          </a:p>
        </p:txBody>
      </p:sp>
      <p:sp>
        <p:nvSpPr>
          <p:cNvPr id="23" name="Rounded Rectangle 22">
            <a:extLst>
              <a:ext uri="{FF2B5EF4-FFF2-40B4-BE49-F238E27FC236}">
                <a16:creationId xmlns="" xmlns:a16="http://schemas.microsoft.com/office/drawing/2014/main" id="{3FF68B7E-2A3C-7445-840D-E03AC743B2BC}"/>
              </a:ext>
            </a:extLst>
          </p:cNvPr>
          <p:cNvSpPr/>
          <p:nvPr/>
        </p:nvSpPr>
        <p:spPr>
          <a:xfrm>
            <a:off x="718225" y="748723"/>
            <a:ext cx="11326629" cy="286848"/>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25" name="Straight Connector 24">
            <a:extLst>
              <a:ext uri="{FF2B5EF4-FFF2-40B4-BE49-F238E27FC236}">
                <a16:creationId xmlns="" xmlns:a16="http://schemas.microsoft.com/office/drawing/2014/main" id="{D4D9F918-F730-4449-AB3E-2E8143B1A414}"/>
              </a:ext>
            </a:extLst>
          </p:cNvPr>
          <p:cNvCxnSpPr>
            <a:cxnSpLocks/>
          </p:cNvCxnSpPr>
          <p:nvPr/>
        </p:nvCxnSpPr>
        <p:spPr>
          <a:xfrm>
            <a:off x="4880225" y="904126"/>
            <a:ext cx="6963201" cy="6598"/>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1476950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lvl="0">
              <a:defRPr/>
            </a:pPr>
            <a:r>
              <a:rPr kumimoji="0" lang="en-US" sz="4000" b="1" i="0" u="none" strike="noStrike" kern="1200" cap="none" spc="0" normalizeH="0" baseline="0" noProof="0" dirty="0" smtClean="0">
                <a:ln>
                  <a:noFill/>
                </a:ln>
                <a:solidFill>
                  <a:srgbClr val="000000"/>
                </a:solidFill>
                <a:effectLst/>
                <a:uLnTx/>
                <a:uFillTx/>
                <a:latin typeface="Georgia"/>
              </a:rPr>
              <a:t>2019 MTSF </a:t>
            </a:r>
            <a:r>
              <a:rPr lang="en-US" sz="4000" dirty="0">
                <a:solidFill>
                  <a:srgbClr val="000000"/>
                </a:solidFill>
                <a:latin typeface="Georgia"/>
              </a:rPr>
              <a:t>contribution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21" name="TextBox 20">
            <a:extLst>
              <a:ext uri="{FF2B5EF4-FFF2-40B4-BE49-F238E27FC236}">
                <a16:creationId xmlns="" xmlns:a16="http://schemas.microsoft.com/office/drawing/2014/main" id="{3D1D2E24-36FA-6149-B377-163EFDF93ABC}"/>
              </a:ext>
            </a:extLst>
          </p:cNvPr>
          <p:cNvSpPr txBox="1"/>
          <p:nvPr/>
        </p:nvSpPr>
        <p:spPr>
          <a:xfrm>
            <a:off x="989159" y="2271555"/>
            <a:ext cx="6365424"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
        <p:nvSpPr>
          <p:cNvPr id="23" name="Rounded Rectangle 22">
            <a:extLst>
              <a:ext uri="{FF2B5EF4-FFF2-40B4-BE49-F238E27FC236}">
                <a16:creationId xmlns="" xmlns:a16="http://schemas.microsoft.com/office/drawing/2014/main" id="{3FF68B7E-2A3C-7445-840D-E03AC743B2BC}"/>
              </a:ext>
            </a:extLst>
          </p:cNvPr>
          <p:cNvSpPr/>
          <p:nvPr/>
        </p:nvSpPr>
        <p:spPr>
          <a:xfrm>
            <a:off x="718225" y="748723"/>
            <a:ext cx="11326629" cy="286848"/>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25" name="Straight Connector 24">
            <a:extLst>
              <a:ext uri="{FF2B5EF4-FFF2-40B4-BE49-F238E27FC236}">
                <a16:creationId xmlns="" xmlns:a16="http://schemas.microsoft.com/office/drawing/2014/main" id="{D4D9F918-F730-4449-AB3E-2E8143B1A414}"/>
              </a:ext>
            </a:extLst>
          </p:cNvPr>
          <p:cNvCxnSpPr>
            <a:cxnSpLocks/>
          </p:cNvCxnSpPr>
          <p:nvPr/>
        </p:nvCxnSpPr>
        <p:spPr>
          <a:xfrm>
            <a:off x="4756935" y="893852"/>
            <a:ext cx="7086491" cy="16872"/>
          </a:xfrm>
          <a:prstGeom prst="line">
            <a:avLst/>
          </a:prstGeom>
          <a:noFill/>
          <a:ln w="6350" cap="flat" cmpd="sng" algn="ctr">
            <a:solidFill>
              <a:srgbClr val="FFFFFF"/>
            </a:solidFill>
            <a:prstDash val="solid"/>
            <a:miter lim="800000"/>
          </a:ln>
          <a:effectLst/>
        </p:spPr>
      </p:cxnSp>
      <p:graphicFrame>
        <p:nvGraphicFramePr>
          <p:cNvPr id="22" name="Table 21"/>
          <p:cNvGraphicFramePr>
            <a:graphicFrameLocks noGrp="1"/>
          </p:cNvGraphicFramePr>
          <p:nvPr>
            <p:extLst>
              <p:ext uri="{D42A27DB-BD31-4B8C-83A1-F6EECF244321}">
                <p14:modId xmlns:p14="http://schemas.microsoft.com/office/powerpoint/2010/main" val="2463537892"/>
              </p:ext>
            </p:extLst>
          </p:nvPr>
        </p:nvGraphicFramePr>
        <p:xfrm>
          <a:off x="647700" y="1265766"/>
          <a:ext cx="11010902" cy="494424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2000" dirty="0" smtClean="0">
                          <a:solidFill>
                            <a:schemeClr val="tx1"/>
                          </a:solidFill>
                          <a:latin typeface="+mj-lt"/>
                        </a:rPr>
                        <a:t>Priority 2: Economic transformation</a:t>
                      </a:r>
                      <a:r>
                        <a:rPr lang="en-ZA" sz="2000" baseline="0" dirty="0" smtClean="0">
                          <a:solidFill>
                            <a:schemeClr val="tx1"/>
                          </a:solidFill>
                          <a:latin typeface="+mj-lt"/>
                        </a:rPr>
                        <a:t> and job creation</a:t>
                      </a: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tx1"/>
                          </a:solidFill>
                          <a:latin typeface="+mj-lt"/>
                        </a:rPr>
                        <a:t>Percentage of tenders above R30 million awarded to designated group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759934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 xmlns:a16="http://schemas.microsoft.com/office/drawing/2014/main" id="{4430A9AA-BB5E-FF43-8C3E-F42948508E5B}"/>
              </a:ext>
            </a:extLst>
          </p:cNvPr>
          <p:cNvSpPr txBox="1">
            <a:spLocks/>
          </p:cNvSpPr>
          <p:nvPr/>
        </p:nvSpPr>
        <p:spPr>
          <a:xfrm>
            <a:off x="718226" y="18106"/>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smtClean="0">
                <a:ln>
                  <a:noFill/>
                </a:ln>
                <a:solidFill>
                  <a:srgbClr val="000000"/>
                </a:solidFill>
                <a:effectLst/>
                <a:uLnTx/>
                <a:uFillTx/>
                <a:latin typeface="Georgia"/>
              </a:rPr>
              <a:t>Problem tree</a:t>
            </a:r>
            <a:endParaRPr kumimoji="0" lang="en-US" sz="3600" b="1" i="0" u="none" strike="noStrike" kern="1200" cap="none" spc="0" normalizeH="0" baseline="0" noProof="0" dirty="0">
              <a:ln>
                <a:noFill/>
              </a:ln>
              <a:solidFill>
                <a:srgbClr val="000000"/>
              </a:solidFill>
              <a:effectLst/>
              <a:uLnTx/>
              <a:uFillTx/>
              <a:latin typeface="Georgia"/>
            </a:endParaRPr>
          </a:p>
        </p:txBody>
      </p:sp>
      <p:sp>
        <p:nvSpPr>
          <p:cNvPr id="14" name="TextBox 13">
            <a:extLst>
              <a:ext uri="{FF2B5EF4-FFF2-40B4-BE49-F238E27FC236}">
                <a16:creationId xmlns="" xmlns:a16="http://schemas.microsoft.com/office/drawing/2014/main" id="{3D1D2E24-36FA-6149-B377-163EFDF93ABC}"/>
              </a:ext>
            </a:extLst>
          </p:cNvPr>
          <p:cNvSpPr txBox="1"/>
          <p:nvPr/>
        </p:nvSpPr>
        <p:spPr>
          <a:xfrm>
            <a:off x="989159" y="862900"/>
            <a:ext cx="6870950" cy="184666"/>
          </a:xfrm>
          <a:prstGeom prst="rect">
            <a:avLst/>
          </a:prstGeom>
          <a:noFill/>
        </p:spPr>
        <p:txBody>
          <a:bodyPr wrap="square" lIns="0" tIns="0" rIns="0" bIns="0" rtlCol="0" anchor="ctr">
            <a:spAutoFit/>
          </a:bodyPr>
          <a:lstStyle/>
          <a:p>
            <a:pPr>
              <a:spcAft>
                <a:spcPts val="300"/>
              </a:spcAft>
            </a:pPr>
            <a:r>
              <a:rPr lang="en-US" sz="1200" b="1" dirty="0">
                <a:solidFill>
                  <a:srgbClr val="FFFFFF"/>
                </a:solidFill>
                <a:latin typeface="Segoe UI Light"/>
                <a:cs typeface="Segoe UI" panose="020B0502040204020203" pitchFamily="34" charset="0"/>
              </a:rPr>
              <a:t>Outcome 6: High performing ethical </a:t>
            </a:r>
            <a:r>
              <a:rPr lang="en-US" sz="1200" b="1" dirty="0" err="1">
                <a:solidFill>
                  <a:srgbClr val="FFFFFF"/>
                </a:solidFill>
                <a:latin typeface="Segoe UI Light"/>
                <a:cs typeface="Segoe UI" panose="020B0502040204020203" pitchFamily="34" charset="0"/>
              </a:rPr>
              <a:t>organisation</a:t>
            </a:r>
            <a:r>
              <a:rPr lang="en-US" sz="1200" b="1" dirty="0">
                <a:solidFill>
                  <a:srgbClr val="FFFFFF"/>
                </a:solidFill>
                <a:latin typeface="Segoe UI Light"/>
                <a:cs typeface="Segoe UI" panose="020B0502040204020203" pitchFamily="34" charset="0"/>
              </a:rPr>
              <a:t> </a:t>
            </a:r>
          </a:p>
        </p:txBody>
      </p:sp>
      <p:graphicFrame>
        <p:nvGraphicFramePr>
          <p:cNvPr id="16" name="Diagram 15"/>
          <p:cNvGraphicFramePr/>
          <p:nvPr>
            <p:extLst>
              <p:ext uri="{D42A27DB-BD31-4B8C-83A1-F6EECF244321}">
                <p14:modId xmlns:p14="http://schemas.microsoft.com/office/powerpoint/2010/main" val="2479706478"/>
              </p:ext>
            </p:extLst>
          </p:nvPr>
        </p:nvGraphicFramePr>
        <p:xfrm>
          <a:off x="135074" y="1648538"/>
          <a:ext cx="12105728" cy="6133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p:cNvSpPr/>
          <p:nvPr/>
        </p:nvSpPr>
        <p:spPr>
          <a:xfrm>
            <a:off x="3140587" y="1106657"/>
            <a:ext cx="1944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lIns="91432" tIns="45716" rIns="91432" bIns="45716" rtlCol="0" anchor="ctr"/>
          <a:lstStyle/>
          <a:p>
            <a:pPr marL="0" marR="0" lvl="0" indent="0" algn="ctr" defTabSz="1179597"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smtClean="0">
                <a:ln>
                  <a:noFill/>
                </a:ln>
                <a:solidFill>
                  <a:prstClr val="black"/>
                </a:solidFill>
                <a:effectLst/>
                <a:uLnTx/>
                <a:uFillTx/>
                <a:latin typeface="Lato"/>
              </a:rPr>
              <a:t>Demotivated workforce</a:t>
            </a:r>
          </a:p>
        </p:txBody>
      </p:sp>
      <p:sp>
        <p:nvSpPr>
          <p:cNvPr id="18" name="Rectangle 17"/>
          <p:cNvSpPr/>
          <p:nvPr/>
        </p:nvSpPr>
        <p:spPr>
          <a:xfrm>
            <a:off x="5181547" y="1106631"/>
            <a:ext cx="1800000" cy="517982"/>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marL="0" marR="0" lvl="0" indent="0" algn="ctr" defTabSz="1179703"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smtClean="0">
                <a:ln>
                  <a:noFill/>
                </a:ln>
                <a:solidFill>
                  <a:prstClr val="black"/>
                </a:solidFill>
                <a:effectLst/>
                <a:uLnTx/>
                <a:uFillTx/>
                <a:latin typeface="Lato"/>
              </a:rPr>
              <a:t>Poor service delivery</a:t>
            </a:r>
          </a:p>
        </p:txBody>
      </p:sp>
      <p:sp>
        <p:nvSpPr>
          <p:cNvPr id="19" name="Rectangle 18"/>
          <p:cNvSpPr/>
          <p:nvPr/>
        </p:nvSpPr>
        <p:spPr>
          <a:xfrm>
            <a:off x="7090628" y="1116795"/>
            <a:ext cx="1800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marL="0" marR="0" lvl="0" indent="0" algn="ctr" defTabSz="1179703"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smtClean="0">
                <a:ln>
                  <a:noFill/>
                </a:ln>
                <a:solidFill>
                  <a:prstClr val="black"/>
                </a:solidFill>
                <a:effectLst/>
                <a:uLnTx/>
                <a:uFillTx/>
                <a:latin typeface="Lato"/>
              </a:rPr>
              <a:t>Negative audit outcomes</a:t>
            </a:r>
          </a:p>
        </p:txBody>
      </p:sp>
      <p:sp>
        <p:nvSpPr>
          <p:cNvPr id="21" name="Rectangle 20"/>
          <p:cNvSpPr/>
          <p:nvPr/>
        </p:nvSpPr>
        <p:spPr>
          <a:xfrm>
            <a:off x="8980629" y="1106657"/>
            <a:ext cx="1800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marL="0" marR="0" lvl="0" indent="0" algn="ctr" defTabSz="1179703"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smtClean="0">
                <a:ln>
                  <a:noFill/>
                </a:ln>
                <a:solidFill>
                  <a:prstClr val="black"/>
                </a:solidFill>
                <a:effectLst/>
                <a:uLnTx/>
                <a:uFillTx/>
                <a:latin typeface="Lato"/>
              </a:rPr>
              <a:t>Fraud and corruption</a:t>
            </a:r>
          </a:p>
        </p:txBody>
      </p:sp>
      <p:sp>
        <p:nvSpPr>
          <p:cNvPr id="22" name="TextBox 21"/>
          <p:cNvSpPr txBox="1"/>
          <p:nvPr/>
        </p:nvSpPr>
        <p:spPr>
          <a:xfrm>
            <a:off x="1664064" y="1186329"/>
            <a:ext cx="1296144" cy="462223"/>
          </a:xfrm>
          <a:prstGeom prst="rect">
            <a:avLst/>
          </a:prstGeom>
          <a:noFill/>
        </p:spPr>
        <p:txBody>
          <a:bodyPr wrap="square" lIns="91358" tIns="45679" rIns="91358" bIns="45679" rtlCol="0">
            <a:spAutoFit/>
          </a:bodyPr>
          <a:lstStyle/>
          <a:p>
            <a:pPr marL="0" marR="0" lvl="0" indent="0" defTabSz="913576"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FF9900"/>
                </a:solidFill>
                <a:effectLst/>
                <a:uLnTx/>
                <a:uFillTx/>
              </a:rPr>
              <a:t>Effects</a:t>
            </a:r>
          </a:p>
        </p:txBody>
      </p:sp>
      <p:sp>
        <p:nvSpPr>
          <p:cNvPr id="23" name="TextBox 22"/>
          <p:cNvSpPr txBox="1"/>
          <p:nvPr/>
        </p:nvSpPr>
        <p:spPr>
          <a:xfrm>
            <a:off x="10780629" y="1648552"/>
            <a:ext cx="1306002" cy="832068"/>
          </a:xfrm>
          <a:prstGeom prst="rect">
            <a:avLst/>
          </a:prstGeom>
          <a:noFill/>
        </p:spPr>
        <p:txBody>
          <a:bodyPr wrap="square" lIns="91358" tIns="45679" rIns="91358" bIns="45679" rtlCol="0">
            <a:spAutoFit/>
          </a:bodyPr>
          <a:lstStyle/>
          <a:p>
            <a:pPr marL="0" marR="0" lvl="0" indent="0" defTabSz="913576"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smtClean="0">
                <a:ln>
                  <a:noFill/>
                </a:ln>
                <a:solidFill>
                  <a:srgbClr val="679F81"/>
                </a:solidFill>
                <a:effectLst/>
                <a:uLnTx/>
                <a:uFillTx/>
              </a:rPr>
              <a:t>Core problem</a:t>
            </a:r>
          </a:p>
        </p:txBody>
      </p:sp>
    </p:spTree>
    <p:extLst>
      <p:ext uri="{BB962C8B-B14F-4D97-AF65-F5344CB8AC3E}">
        <p14:creationId xmlns:p14="http://schemas.microsoft.com/office/powerpoint/2010/main" val="39348190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CNQJqAHKx5wgyv3swwH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
      <a:dk1>
        <a:srgbClr val="000000"/>
      </a:dk1>
      <a:lt1>
        <a:srgbClr val="FFFFFF"/>
      </a:lt1>
      <a:dk2>
        <a:srgbClr val="44546A"/>
      </a:dk2>
      <a:lt2>
        <a:srgbClr val="E7E6E6"/>
      </a:lt2>
      <a:accent1>
        <a:srgbClr val="234091"/>
      </a:accent1>
      <a:accent2>
        <a:srgbClr val="455F87"/>
      </a:accent2>
      <a:accent3>
        <a:srgbClr val="96AFD6"/>
      </a:accent3>
      <a:accent4>
        <a:srgbClr val="C7A96E"/>
      </a:accent4>
      <a:accent5>
        <a:srgbClr val="FEFFFE"/>
      </a:accent5>
      <a:accent6>
        <a:srgbClr val="FEFFFE"/>
      </a:accent6>
      <a:hlink>
        <a:srgbClr val="2F5CD6"/>
      </a:hlink>
      <a:folHlink>
        <a:srgbClr val="954F72"/>
      </a:folHlink>
    </a:clrScheme>
    <a:fontScheme name="Custom 4">
      <a:majorFont>
        <a:latin typeface="Georgia"/>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767</TotalTime>
  <Words>2040</Words>
  <Application>Microsoft Office PowerPoint</Application>
  <PresentationFormat>Widescreen</PresentationFormat>
  <Paragraphs>344</Paragraphs>
  <Slides>18</Slides>
  <Notes>1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libri Light</vt:lpstr>
      <vt:lpstr>Century Gothic</vt:lpstr>
      <vt:lpstr>Georgia</vt:lpstr>
      <vt:lpstr>Lato</vt:lpstr>
      <vt:lpstr>Segoe UI</vt:lpstr>
      <vt:lpstr>Segoe UI Light</vt:lpstr>
      <vt:lpstr>Times New Roman</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ults chain</vt:lpstr>
      <vt:lpstr>Results chain</vt:lpstr>
      <vt:lpstr>PowerPoint Presentation</vt:lpstr>
      <vt:lpstr>Modes of service delivery for Supply Chain</vt:lpstr>
      <vt:lpstr>Strategic Risks</vt:lpstr>
      <vt:lpstr>Critical success factors and management of dependencie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agane Makobe</dc:creator>
  <cp:lastModifiedBy>Anbigay Naicker</cp:lastModifiedBy>
  <cp:revision>140</cp:revision>
  <dcterms:created xsi:type="dcterms:W3CDTF">2020-09-14T09:49:54Z</dcterms:created>
  <dcterms:modified xsi:type="dcterms:W3CDTF">2020-10-07T19:22:12Z</dcterms:modified>
</cp:coreProperties>
</file>